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omments/modernComment_150_B8ABDBDC.xml" ContentType="application/vnd.ms-powerpoint.comment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omments/modernComment_152_A4F010F5.xml" ContentType="application/vnd.ms-powerpoint.comment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omments/modernComment_156_2C8D986C.xml" ContentType="application/vnd.ms-powerpoint.comment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omments/modernComment_154_589A8537.xml" ContentType="application/vnd.ms-powerpoint.comment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98" r:id="rId5"/>
    <p:sldId id="302" r:id="rId6"/>
    <p:sldId id="336" r:id="rId7"/>
    <p:sldId id="343" r:id="rId8"/>
    <p:sldId id="344" r:id="rId9"/>
    <p:sldId id="338" r:id="rId10"/>
    <p:sldId id="342" r:id="rId11"/>
    <p:sldId id="340" r:id="rId12"/>
    <p:sldId id="335" r:id="rId13"/>
  </p:sldIdLst>
  <p:sldSz cx="12192000" cy="6858000"/>
  <p:notesSz cx="7010400" cy="9296400"/>
  <p:custDataLst>
    <p:tags r:id="rId16"/>
  </p:custDataLst>
  <p:defaultTextStyle>
    <a:defPPr>
      <a:defRPr lang="en-US"/>
    </a:defPPr>
    <a:lvl1pPr marL="0" algn="l" defTabSz="914376" rtl="0" eaLnBrk="1" latinLnBrk="0" hangingPunct="1">
      <a:defRPr sz="1781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6" rtl="0" eaLnBrk="1" latinLnBrk="0" hangingPunct="1">
      <a:defRPr sz="1781" kern="1200">
        <a:solidFill>
          <a:schemeClr val="tx1"/>
        </a:solidFill>
        <a:latin typeface="+mn-lt"/>
        <a:ea typeface="+mn-ea"/>
        <a:cs typeface="+mn-cs"/>
      </a:defRPr>
    </a:lvl2pPr>
    <a:lvl3pPr marL="914376" algn="l" defTabSz="914376" rtl="0" eaLnBrk="1" latinLnBrk="0" hangingPunct="1">
      <a:defRPr sz="1781" kern="1200">
        <a:solidFill>
          <a:schemeClr val="tx1"/>
        </a:solidFill>
        <a:latin typeface="+mn-lt"/>
        <a:ea typeface="+mn-ea"/>
        <a:cs typeface="+mn-cs"/>
      </a:defRPr>
    </a:lvl3pPr>
    <a:lvl4pPr marL="1371564" algn="l" defTabSz="914376" rtl="0" eaLnBrk="1" latinLnBrk="0" hangingPunct="1">
      <a:defRPr sz="1781" kern="1200">
        <a:solidFill>
          <a:schemeClr val="tx1"/>
        </a:solidFill>
        <a:latin typeface="+mn-lt"/>
        <a:ea typeface="+mn-ea"/>
        <a:cs typeface="+mn-cs"/>
      </a:defRPr>
    </a:lvl4pPr>
    <a:lvl5pPr marL="1828752" algn="l" defTabSz="914376" rtl="0" eaLnBrk="1" latinLnBrk="0" hangingPunct="1">
      <a:defRPr sz="1781" kern="1200">
        <a:solidFill>
          <a:schemeClr val="tx1"/>
        </a:solidFill>
        <a:latin typeface="+mn-lt"/>
        <a:ea typeface="+mn-ea"/>
        <a:cs typeface="+mn-cs"/>
      </a:defRPr>
    </a:lvl5pPr>
    <a:lvl6pPr marL="2285939" algn="l" defTabSz="914376" rtl="0" eaLnBrk="1" latinLnBrk="0" hangingPunct="1">
      <a:defRPr sz="1781" kern="1200">
        <a:solidFill>
          <a:schemeClr val="tx1"/>
        </a:solidFill>
        <a:latin typeface="+mn-lt"/>
        <a:ea typeface="+mn-ea"/>
        <a:cs typeface="+mn-cs"/>
      </a:defRPr>
    </a:lvl6pPr>
    <a:lvl7pPr marL="2743128" algn="l" defTabSz="914376" rtl="0" eaLnBrk="1" latinLnBrk="0" hangingPunct="1">
      <a:defRPr sz="1781" kern="1200">
        <a:solidFill>
          <a:schemeClr val="tx1"/>
        </a:solidFill>
        <a:latin typeface="+mn-lt"/>
        <a:ea typeface="+mn-ea"/>
        <a:cs typeface="+mn-cs"/>
      </a:defRPr>
    </a:lvl7pPr>
    <a:lvl8pPr marL="3200317" algn="l" defTabSz="914376" rtl="0" eaLnBrk="1" latinLnBrk="0" hangingPunct="1">
      <a:defRPr sz="1781" kern="1200">
        <a:solidFill>
          <a:schemeClr val="tx1"/>
        </a:solidFill>
        <a:latin typeface="+mn-lt"/>
        <a:ea typeface="+mn-ea"/>
        <a:cs typeface="+mn-cs"/>
      </a:defRPr>
    </a:lvl8pPr>
    <a:lvl9pPr marL="3657505" algn="l" defTabSz="914376" rtl="0" eaLnBrk="1" latinLnBrk="0" hangingPunct="1">
      <a:defRPr sz="178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41F5356-4D5F-4575-BB49-76D852FDD260}">
          <p14:sldIdLst>
            <p14:sldId id="298"/>
            <p14:sldId id="302"/>
            <p14:sldId id="336"/>
            <p14:sldId id="343"/>
            <p14:sldId id="344"/>
            <p14:sldId id="338"/>
            <p14:sldId id="342"/>
            <p14:sldId id="340"/>
            <p14:sldId id="335"/>
          </p14:sldIdLst>
        </p14:section>
        <p14:section name="Memo" id="{01882270-5F67-437E-998A-268118C267FF}">
          <p14:sldIdLst/>
        </p14:section>
      </p14:sectionLst>
    </p:ext>
    <p:ext uri="{EFAFB233-063F-42B5-8137-9DF3F51BA10A}">
      <p15:sldGuideLst xmlns:p15="http://schemas.microsoft.com/office/powerpoint/2012/main">
        <p15:guide id="3" pos="3840" userDrawn="1">
          <p15:clr>
            <a:srgbClr val="A4A3A4"/>
          </p15:clr>
        </p15:guide>
        <p15:guide id="4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D9C6903-D0E6-19D2-023E-2C17544547D9}" name="Serena Yin" initials="SY" userId="S::serena.yin@un.org::016e0734-67ee-41ab-baa3-2b4b298a2c0e" providerId="AD"/>
  <p188:author id="{97AFE606-FE03-8156-78FE-89F16B8E4C1E}" name="Ralph Chow" initials="RC" userId="S::ralph.chow@un.org::a6480b66-2cf6-473f-a0e8-e7ea85ea3933" providerId="AD"/>
  <p188:author id="{4664B119-CF8D-18A2-523D-2D460C159651}" name="Haruka George" initials="HG" userId="S::haruka.george@un.org::29d514ed-54e6-4afe-abf6-b8e8a204b3a8" providerId="AD"/>
  <p188:author id="{56FB1F6F-259D-6C5D-8595-EB6874746620}" name="Ninamma Rai" initials="NR" userId="S::ninamma.rai@un.org::4411e985-d6e4-48d0-b879-adbd27bc48b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524E53"/>
    <a:srgbClr val="FC8604"/>
    <a:srgbClr val="80878A"/>
    <a:srgbClr val="A8E6F8"/>
    <a:srgbClr val="009DDA"/>
    <a:srgbClr val="606061"/>
    <a:srgbClr val="3CBB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32084B-C696-DBCB-5515-8915BAB66C23}" v="1" dt="2025-07-24T16:47:16.4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3840"/>
        <p:guide orient="horz" pos="216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lph Chow" userId="S::ralph.chow@un.org::a6480b66-2cf6-473f-a0e8-e7ea85ea3933" providerId="AD" clId="Web-{08EDE401-D11D-8352-9CCE-2654C703F17A}"/>
    <pc:docChg chg="mod">
      <pc:chgData name="Ralph Chow" userId="S::ralph.chow@un.org::a6480b66-2cf6-473f-a0e8-e7ea85ea3933" providerId="AD" clId="Web-{08EDE401-D11D-8352-9CCE-2654C703F17A}" dt="2025-07-15T13:47:51.249" v="0"/>
      <pc:docMkLst>
        <pc:docMk/>
      </pc:docMkLst>
    </pc:docChg>
  </pc:docChgLst>
  <pc:docChgLst>
    <pc:chgData name="Ninamma Rai" userId="S::ninamma.rai@un.org::4411e985-d6e4-48d0-b879-adbd27bc48b3" providerId="AD" clId="Web-{5EADDE7C-C35E-2B37-25BE-34E8C8A0462D}"/>
    <pc:docChg chg="mod">
      <pc:chgData name="Ninamma Rai" userId="S::ninamma.rai@un.org::4411e985-d6e4-48d0-b879-adbd27bc48b3" providerId="AD" clId="Web-{5EADDE7C-C35E-2B37-25BE-34E8C8A0462D}" dt="2025-07-15T16:07:35.186" v="0"/>
      <pc:docMkLst>
        <pc:docMk/>
      </pc:docMkLst>
    </pc:docChg>
  </pc:docChgLst>
  <pc:docChgLst>
    <pc:chgData name="Serena Yin" userId="016e0734-67ee-41ab-baa3-2b4b298a2c0e" providerId="ADAL" clId="{5B26D868-2E6B-4BF2-9B71-E83D6BF672D0}"/>
    <pc:docChg chg="undo custSel modSld">
      <pc:chgData name="Serena Yin" userId="016e0734-67ee-41ab-baa3-2b4b298a2c0e" providerId="ADAL" clId="{5B26D868-2E6B-4BF2-9B71-E83D6BF672D0}" dt="2025-07-24T13:53:48.537" v="17" actId="20577"/>
      <pc:docMkLst>
        <pc:docMk/>
      </pc:docMkLst>
      <pc:sldChg chg="modSp mod">
        <pc:chgData name="Serena Yin" userId="016e0734-67ee-41ab-baa3-2b4b298a2c0e" providerId="ADAL" clId="{5B26D868-2E6B-4BF2-9B71-E83D6BF672D0}" dt="2025-07-24T13:53:48.537" v="17" actId="20577"/>
        <pc:sldMkLst>
          <pc:docMk/>
          <pc:sldMk cId="747477100" sldId="342"/>
        </pc:sldMkLst>
        <pc:spChg chg="mod">
          <ac:chgData name="Serena Yin" userId="016e0734-67ee-41ab-baa3-2b4b298a2c0e" providerId="ADAL" clId="{5B26D868-2E6B-4BF2-9B71-E83D6BF672D0}" dt="2025-07-24T13:53:17.061" v="9" actId="20577"/>
          <ac:spMkLst>
            <pc:docMk/>
            <pc:sldMk cId="747477100" sldId="342"/>
            <ac:spMk id="3" creationId="{30F650CD-97C0-0017-1375-DD2F0595DB2A}"/>
          </ac:spMkLst>
        </pc:spChg>
        <pc:spChg chg="mod">
          <ac:chgData name="Serena Yin" userId="016e0734-67ee-41ab-baa3-2b4b298a2c0e" providerId="ADAL" clId="{5B26D868-2E6B-4BF2-9B71-E83D6BF672D0}" dt="2025-07-24T13:53:48.537" v="17" actId="20577"/>
          <ac:spMkLst>
            <pc:docMk/>
            <pc:sldMk cId="747477100" sldId="342"/>
            <ac:spMk id="5" creationId="{DA354C5D-6F6C-E452-1859-AB0F681477EF}"/>
          </ac:spMkLst>
        </pc:spChg>
      </pc:sldChg>
    </pc:docChg>
  </pc:docChgLst>
  <pc:docChgLst>
    <pc:chgData name="Serena Yin" userId="016e0734-67ee-41ab-baa3-2b4b298a2c0e" providerId="ADAL" clId="{87F5445D-3A7D-4D07-AC92-3FA413FD57BD}"/>
    <pc:docChg chg="undo custSel addSld delSld modSld sldOrd modSection">
      <pc:chgData name="Serena Yin" userId="016e0734-67ee-41ab-baa3-2b4b298a2c0e" providerId="ADAL" clId="{87F5445D-3A7D-4D07-AC92-3FA413FD57BD}" dt="2025-07-23T13:49:05.870" v="8320" actId="14861"/>
      <pc:docMkLst>
        <pc:docMk/>
      </pc:docMkLst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1924681128" sldId="257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2586694366" sldId="258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1416798332" sldId="261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3702533683" sldId="262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287022075" sldId="263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3148623259" sldId="264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2060792905" sldId="268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839227224" sldId="273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4163867870" sldId="274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100335285" sldId="277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741648191" sldId="279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4053587083" sldId="285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156220878" sldId="286"/>
        </pc:sldMkLst>
      </pc:sldChg>
      <pc:sldChg chg="modSp mod">
        <pc:chgData name="Serena Yin" userId="016e0734-67ee-41ab-baa3-2b4b298a2c0e" providerId="ADAL" clId="{87F5445D-3A7D-4D07-AC92-3FA413FD57BD}" dt="2025-07-15T07:34:23.721" v="5705" actId="20577"/>
        <pc:sldMkLst>
          <pc:docMk/>
          <pc:sldMk cId="1963526311" sldId="298"/>
        </pc:sldMkLst>
        <pc:spChg chg="mod">
          <ac:chgData name="Serena Yin" userId="016e0734-67ee-41ab-baa3-2b4b298a2c0e" providerId="ADAL" clId="{87F5445D-3A7D-4D07-AC92-3FA413FD57BD}" dt="2025-07-15T03:45:01.442" v="48" actId="20577"/>
          <ac:spMkLst>
            <pc:docMk/>
            <pc:sldMk cId="1963526311" sldId="298"/>
            <ac:spMk id="7" creationId="{D3EC7C1B-FDF5-4B29-8020-F341F91D9D27}"/>
          </ac:spMkLst>
        </pc:spChg>
        <pc:spChg chg="mod">
          <ac:chgData name="Serena Yin" userId="016e0734-67ee-41ab-baa3-2b4b298a2c0e" providerId="ADAL" clId="{87F5445D-3A7D-4D07-AC92-3FA413FD57BD}" dt="2025-07-15T03:45:35.995" v="128" actId="20577"/>
          <ac:spMkLst>
            <pc:docMk/>
            <pc:sldMk cId="1963526311" sldId="298"/>
            <ac:spMk id="8" creationId="{EFBE890A-8F8B-445F-A55F-8E3CE23C2609}"/>
          </ac:spMkLst>
        </pc:spChg>
        <pc:spChg chg="mod">
          <ac:chgData name="Serena Yin" userId="016e0734-67ee-41ab-baa3-2b4b298a2c0e" providerId="ADAL" clId="{87F5445D-3A7D-4D07-AC92-3FA413FD57BD}" dt="2025-07-15T07:34:23.721" v="5705" actId="20577"/>
          <ac:spMkLst>
            <pc:docMk/>
            <pc:sldMk cId="1963526311" sldId="298"/>
            <ac:spMk id="9" creationId="{0B0F06D7-69E3-4EBF-86A4-C9F73C3B4123}"/>
          </ac:spMkLst>
        </pc:spChg>
      </pc:sldChg>
      <pc:sldChg chg="del mod modShow">
        <pc:chgData name="Serena Yin" userId="016e0734-67ee-41ab-baa3-2b4b298a2c0e" providerId="ADAL" clId="{87F5445D-3A7D-4D07-AC92-3FA413FD57BD}" dt="2025-07-23T07:12:35.981" v="7918" actId="47"/>
        <pc:sldMkLst>
          <pc:docMk/>
          <pc:sldMk cId="2010570289" sldId="300"/>
        </pc:sldMkLst>
      </pc:sldChg>
      <pc:sldChg chg="addSp delSp modSp mod ord modShow">
        <pc:chgData name="Serena Yin" userId="016e0734-67ee-41ab-baa3-2b4b298a2c0e" providerId="ADAL" clId="{87F5445D-3A7D-4D07-AC92-3FA413FD57BD}" dt="2025-07-15T07:37:05.202" v="5710"/>
        <pc:sldMkLst>
          <pc:docMk/>
          <pc:sldMk cId="1911084172" sldId="302"/>
        </pc:sldMkLst>
        <pc:spChg chg="add mod">
          <ac:chgData name="Serena Yin" userId="016e0734-67ee-41ab-baa3-2b4b298a2c0e" providerId="ADAL" clId="{87F5445D-3A7D-4D07-AC92-3FA413FD57BD}" dt="2025-07-15T04:08:02.264" v="803" actId="14100"/>
          <ac:spMkLst>
            <pc:docMk/>
            <pc:sldMk cId="1911084172" sldId="302"/>
            <ac:spMk id="5" creationId="{75B7E7D0-636E-4083-5326-944FD14E741D}"/>
          </ac:spMkLst>
        </pc:spChg>
        <pc:spChg chg="add mod">
          <ac:chgData name="Serena Yin" userId="016e0734-67ee-41ab-baa3-2b4b298a2c0e" providerId="ADAL" clId="{87F5445D-3A7D-4D07-AC92-3FA413FD57BD}" dt="2025-07-15T04:22:19.058" v="988" actId="14100"/>
          <ac:spMkLst>
            <pc:docMk/>
            <pc:sldMk cId="1911084172" sldId="302"/>
            <ac:spMk id="6" creationId="{52060003-C267-A414-71B5-C6AD5208AAF0}"/>
          </ac:spMkLst>
        </pc:spChg>
        <pc:spChg chg="mod">
          <ac:chgData name="Serena Yin" userId="016e0734-67ee-41ab-baa3-2b4b298a2c0e" providerId="ADAL" clId="{87F5445D-3A7D-4D07-AC92-3FA413FD57BD}" dt="2025-07-15T04:20:45.303" v="969" actId="207"/>
          <ac:spMkLst>
            <pc:docMk/>
            <pc:sldMk cId="1911084172" sldId="302"/>
            <ac:spMk id="8" creationId="{B7785F48-4DAB-403B-A159-6B092514A34A}"/>
          </ac:spMkLst>
        </pc:spChg>
        <pc:spChg chg="add mod">
          <ac:chgData name="Serena Yin" userId="016e0734-67ee-41ab-baa3-2b4b298a2c0e" providerId="ADAL" clId="{87F5445D-3A7D-4D07-AC92-3FA413FD57BD}" dt="2025-07-15T04:28:59.659" v="1094" actId="1076"/>
          <ac:spMkLst>
            <pc:docMk/>
            <pc:sldMk cId="1911084172" sldId="302"/>
            <ac:spMk id="14" creationId="{A05B0CE4-9300-3D66-3097-1F633DB1BF16}"/>
          </ac:spMkLst>
        </pc:spChg>
        <pc:spChg chg="add mod">
          <ac:chgData name="Serena Yin" userId="016e0734-67ee-41ab-baa3-2b4b298a2c0e" providerId="ADAL" clId="{87F5445D-3A7D-4D07-AC92-3FA413FD57BD}" dt="2025-07-15T07:37:05.202" v="5710"/>
          <ac:spMkLst>
            <pc:docMk/>
            <pc:sldMk cId="1911084172" sldId="302"/>
            <ac:spMk id="15" creationId="{99C97232-3791-C464-4E2F-2CBAD11709AD}"/>
          </ac:spMkLst>
        </pc:spChg>
        <pc:spChg chg="mod">
          <ac:chgData name="Serena Yin" userId="016e0734-67ee-41ab-baa3-2b4b298a2c0e" providerId="ADAL" clId="{87F5445D-3A7D-4D07-AC92-3FA413FD57BD}" dt="2025-07-15T04:29:49.908" v="1113" actId="404"/>
          <ac:spMkLst>
            <pc:docMk/>
            <pc:sldMk cId="1911084172" sldId="302"/>
            <ac:spMk id="29" creationId="{D09FAD4A-DE94-26B4-007B-120534122E6D}"/>
          </ac:spMkLst>
        </pc:spChg>
        <pc:picChg chg="add mod">
          <ac:chgData name="Serena Yin" userId="016e0734-67ee-41ab-baa3-2b4b298a2c0e" providerId="ADAL" clId="{87F5445D-3A7D-4D07-AC92-3FA413FD57BD}" dt="2025-07-15T04:22:28.295" v="991" actId="1076"/>
          <ac:picMkLst>
            <pc:docMk/>
            <pc:sldMk cId="1911084172" sldId="302"/>
            <ac:picMk id="13" creationId="{EC638A30-4BFD-3CB5-5E6B-359CE439228F}"/>
          </ac:picMkLst>
        </pc:picChg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894795855" sldId="303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4093202102" sldId="304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3586598363" sldId="307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4179890302" sldId="308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2746086981" sldId="309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89812089" sldId="310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681745759" sldId="311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3867723433" sldId="312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637094450" sldId="313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278501628" sldId="314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46916768" sldId="315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1175529377" sldId="316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4006574614" sldId="317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1794669607" sldId="318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755199872" sldId="319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2891450433" sldId="320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1099416523" sldId="321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640454355" sldId="322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3767946833" sldId="323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2770511429" sldId="324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4166846377" sldId="328"/>
        </pc:sldMkLst>
      </pc:sldChg>
      <pc:sldChg chg="del">
        <pc:chgData name="Serena Yin" userId="016e0734-67ee-41ab-baa3-2b4b298a2c0e" providerId="ADAL" clId="{87F5445D-3A7D-4D07-AC92-3FA413FD57BD}" dt="2025-07-23T04:42:24.312" v="6131" actId="47"/>
        <pc:sldMkLst>
          <pc:docMk/>
          <pc:sldMk cId="2163214218" sldId="329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3146982926" sldId="330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217960144" sldId="331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1391850827" sldId="332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647804491" sldId="333"/>
        </pc:sldMkLst>
      </pc:sldChg>
      <pc:sldChg chg="del mod modShow">
        <pc:chgData name="Serena Yin" userId="016e0734-67ee-41ab-baa3-2b4b298a2c0e" providerId="ADAL" clId="{87F5445D-3A7D-4D07-AC92-3FA413FD57BD}" dt="2025-07-23T04:42:24.312" v="6131" actId="47"/>
        <pc:sldMkLst>
          <pc:docMk/>
          <pc:sldMk cId="4076560699" sldId="334"/>
        </pc:sldMkLst>
      </pc:sldChg>
      <pc:sldChg chg="addSp delSp modSp add mod">
        <pc:chgData name="Serena Yin" userId="016e0734-67ee-41ab-baa3-2b4b298a2c0e" providerId="ADAL" clId="{87F5445D-3A7D-4D07-AC92-3FA413FD57BD}" dt="2025-07-15T03:51:28.461" v="152" actId="1076"/>
        <pc:sldMkLst>
          <pc:docMk/>
          <pc:sldMk cId="2282751571" sldId="335"/>
        </pc:sldMkLst>
        <pc:spChg chg="mod">
          <ac:chgData name="Serena Yin" userId="016e0734-67ee-41ab-baa3-2b4b298a2c0e" providerId="ADAL" clId="{87F5445D-3A7D-4D07-AC92-3FA413FD57BD}" dt="2025-07-15T03:51:28.461" v="152" actId="1076"/>
          <ac:spMkLst>
            <pc:docMk/>
            <pc:sldMk cId="2282751571" sldId="335"/>
            <ac:spMk id="7" creationId="{66D650E4-D572-9C64-9BFF-F4E6CD14BB6D}"/>
          </ac:spMkLst>
        </pc:spChg>
      </pc:sldChg>
      <pc:sldChg chg="addSp delSp modSp add mod ord modShow">
        <pc:chgData name="Serena Yin" userId="016e0734-67ee-41ab-baa3-2b4b298a2c0e" providerId="ADAL" clId="{87F5445D-3A7D-4D07-AC92-3FA413FD57BD}" dt="2025-07-23T13:42:05.921" v="8270" actId="14861"/>
        <pc:sldMkLst>
          <pc:docMk/>
          <pc:sldMk cId="3098270684" sldId="336"/>
        </pc:sldMkLst>
        <pc:spChg chg="add mod">
          <ac:chgData name="Serena Yin" userId="016e0734-67ee-41ab-baa3-2b4b298a2c0e" providerId="ADAL" clId="{87F5445D-3A7D-4D07-AC92-3FA413FD57BD}" dt="2025-07-15T05:19:26.036" v="3071" actId="1036"/>
          <ac:spMkLst>
            <pc:docMk/>
            <pc:sldMk cId="3098270684" sldId="336"/>
            <ac:spMk id="5" creationId="{7B9D0227-08FD-490E-9C6A-29F619D11327}"/>
          </ac:spMkLst>
        </pc:spChg>
        <pc:spChg chg="mod">
          <ac:chgData name="Serena Yin" userId="016e0734-67ee-41ab-baa3-2b4b298a2c0e" providerId="ADAL" clId="{87F5445D-3A7D-4D07-AC92-3FA413FD57BD}" dt="2025-07-15T05:19:44.481" v="3073" actId="14100"/>
          <ac:spMkLst>
            <pc:docMk/>
            <pc:sldMk cId="3098270684" sldId="336"/>
            <ac:spMk id="8" creationId="{78B6127A-1D56-68E3-A9D0-B1A9B6619709}"/>
          </ac:spMkLst>
        </pc:spChg>
        <pc:spChg chg="add mod">
          <ac:chgData name="Serena Yin" userId="016e0734-67ee-41ab-baa3-2b4b298a2c0e" providerId="ADAL" clId="{87F5445D-3A7D-4D07-AC92-3FA413FD57BD}" dt="2025-07-22T09:34:22.765" v="5870" actId="20577"/>
          <ac:spMkLst>
            <pc:docMk/>
            <pc:sldMk cId="3098270684" sldId="336"/>
            <ac:spMk id="13" creationId="{C3598AE4-4BD4-43C6-8078-FB7DB5BB2FF8}"/>
          </ac:spMkLst>
        </pc:spChg>
        <pc:spChg chg="add mod">
          <ac:chgData name="Serena Yin" userId="016e0734-67ee-41ab-baa3-2b4b298a2c0e" providerId="ADAL" clId="{87F5445D-3A7D-4D07-AC92-3FA413FD57BD}" dt="2025-07-15T07:36:00.904" v="5707" actId="693"/>
          <ac:spMkLst>
            <pc:docMk/>
            <pc:sldMk cId="3098270684" sldId="336"/>
            <ac:spMk id="14" creationId="{2DB8DBE5-BB26-4D4C-9970-39B5558B3450}"/>
          </ac:spMkLst>
        </pc:spChg>
        <pc:spChg chg="add mod">
          <ac:chgData name="Serena Yin" userId="016e0734-67ee-41ab-baa3-2b4b298a2c0e" providerId="ADAL" clId="{87F5445D-3A7D-4D07-AC92-3FA413FD57BD}" dt="2025-07-22T09:34:19.795" v="5868" actId="20577"/>
          <ac:spMkLst>
            <pc:docMk/>
            <pc:sldMk cId="3098270684" sldId="336"/>
            <ac:spMk id="15" creationId="{43DA835E-59D3-42B0-9ED8-A74C59C56077}"/>
          </ac:spMkLst>
        </pc:spChg>
        <pc:spChg chg="add mod">
          <ac:chgData name="Serena Yin" userId="016e0734-67ee-41ab-baa3-2b4b298a2c0e" providerId="ADAL" clId="{87F5445D-3A7D-4D07-AC92-3FA413FD57BD}" dt="2025-07-15T05:19:26.036" v="3071" actId="1036"/>
          <ac:spMkLst>
            <pc:docMk/>
            <pc:sldMk cId="3098270684" sldId="336"/>
            <ac:spMk id="16" creationId="{B733033B-5110-43E4-84AD-1CE76BA5D87A}"/>
          </ac:spMkLst>
        </pc:spChg>
        <pc:spChg chg="add mod">
          <ac:chgData name="Serena Yin" userId="016e0734-67ee-41ab-baa3-2b4b298a2c0e" providerId="ADAL" clId="{87F5445D-3A7D-4D07-AC92-3FA413FD57BD}" dt="2025-07-15T05:19:26.036" v="3071" actId="1036"/>
          <ac:spMkLst>
            <pc:docMk/>
            <pc:sldMk cId="3098270684" sldId="336"/>
            <ac:spMk id="17" creationId="{072EED24-66B2-480E-B433-CA8B9C9E3B2F}"/>
          </ac:spMkLst>
        </pc:spChg>
        <pc:spChg chg="add mod">
          <ac:chgData name="Serena Yin" userId="016e0734-67ee-41ab-baa3-2b4b298a2c0e" providerId="ADAL" clId="{87F5445D-3A7D-4D07-AC92-3FA413FD57BD}" dt="2025-07-15T04:36:48.323" v="1133"/>
          <ac:spMkLst>
            <pc:docMk/>
            <pc:sldMk cId="3098270684" sldId="336"/>
            <ac:spMk id="18" creationId="{D7B7EC01-C77F-4A0C-9FF2-F90DD06F6AE6}"/>
          </ac:spMkLst>
        </pc:spChg>
        <pc:spChg chg="add mod">
          <ac:chgData name="Serena Yin" userId="016e0734-67ee-41ab-baa3-2b4b298a2c0e" providerId="ADAL" clId="{87F5445D-3A7D-4D07-AC92-3FA413FD57BD}" dt="2025-07-15T07:40:06.050" v="5722" actId="404"/>
          <ac:spMkLst>
            <pc:docMk/>
            <pc:sldMk cId="3098270684" sldId="336"/>
            <ac:spMk id="19" creationId="{97A2932D-51EC-4F1C-9016-4367BC6BBE15}"/>
          </ac:spMkLst>
        </pc:spChg>
        <pc:spChg chg="add mod">
          <ac:chgData name="Serena Yin" userId="016e0734-67ee-41ab-baa3-2b4b298a2c0e" providerId="ADAL" clId="{87F5445D-3A7D-4D07-AC92-3FA413FD57BD}" dt="2025-07-15T04:36:48.323" v="1133"/>
          <ac:spMkLst>
            <pc:docMk/>
            <pc:sldMk cId="3098270684" sldId="336"/>
            <ac:spMk id="20" creationId="{73A51E45-5E4C-4296-BB28-D664E1479B78}"/>
          </ac:spMkLst>
        </pc:spChg>
        <pc:spChg chg="add mod">
          <ac:chgData name="Serena Yin" userId="016e0734-67ee-41ab-baa3-2b4b298a2c0e" providerId="ADAL" clId="{87F5445D-3A7D-4D07-AC92-3FA413FD57BD}" dt="2025-07-15T05:05:20.351" v="2202" actId="57"/>
          <ac:spMkLst>
            <pc:docMk/>
            <pc:sldMk cId="3098270684" sldId="336"/>
            <ac:spMk id="21" creationId="{912B00AA-8086-442B-B8F0-B0D21B02D38C}"/>
          </ac:spMkLst>
        </pc:spChg>
        <pc:spChg chg="add mod">
          <ac:chgData name="Serena Yin" userId="016e0734-67ee-41ab-baa3-2b4b298a2c0e" providerId="ADAL" clId="{87F5445D-3A7D-4D07-AC92-3FA413FD57BD}" dt="2025-07-15T05:19:26.036" v="3071" actId="1036"/>
          <ac:spMkLst>
            <pc:docMk/>
            <pc:sldMk cId="3098270684" sldId="336"/>
            <ac:spMk id="22" creationId="{DF5025D6-F4F9-49AB-9189-9F1BCE268E03}"/>
          </ac:spMkLst>
        </pc:spChg>
        <pc:spChg chg="mod">
          <ac:chgData name="Serena Yin" userId="016e0734-67ee-41ab-baa3-2b4b298a2c0e" providerId="ADAL" clId="{87F5445D-3A7D-4D07-AC92-3FA413FD57BD}" dt="2025-07-22T09:35:39.128" v="6049" actId="20577"/>
          <ac:spMkLst>
            <pc:docMk/>
            <pc:sldMk cId="3098270684" sldId="336"/>
            <ac:spMk id="28" creationId="{02131B99-8915-5253-E9DA-B376E7820FA0}"/>
          </ac:spMkLst>
        </pc:spChg>
        <pc:spChg chg="add mod">
          <ac:chgData name="Serena Yin" userId="016e0734-67ee-41ab-baa3-2b4b298a2c0e" providerId="ADAL" clId="{87F5445D-3A7D-4D07-AC92-3FA413FD57BD}" dt="2025-07-15T04:50:41.203" v="1653" actId="113"/>
          <ac:spMkLst>
            <pc:docMk/>
            <pc:sldMk cId="3098270684" sldId="336"/>
            <ac:spMk id="30" creationId="{03D8087F-6FFD-1C45-7680-D146B7E7ED3A}"/>
          </ac:spMkLst>
        </pc:spChg>
        <pc:spChg chg="add mod">
          <ac:chgData name="Serena Yin" userId="016e0734-67ee-41ab-baa3-2b4b298a2c0e" providerId="ADAL" clId="{87F5445D-3A7D-4D07-AC92-3FA413FD57BD}" dt="2025-07-15T05:19:26.036" v="3071" actId="1036"/>
          <ac:spMkLst>
            <pc:docMk/>
            <pc:sldMk cId="3098270684" sldId="336"/>
            <ac:spMk id="31" creationId="{2DCCB70C-7D85-EE88-270D-942D45643592}"/>
          </ac:spMkLst>
        </pc:spChg>
        <pc:spChg chg="add mod">
          <ac:chgData name="Serena Yin" userId="016e0734-67ee-41ab-baa3-2b4b298a2c0e" providerId="ADAL" clId="{87F5445D-3A7D-4D07-AC92-3FA413FD57BD}" dt="2025-07-15T05:19:26.036" v="3071" actId="1036"/>
          <ac:spMkLst>
            <pc:docMk/>
            <pc:sldMk cId="3098270684" sldId="336"/>
            <ac:spMk id="32" creationId="{EB254455-2420-7B8D-B2E4-BFA990C3DDBE}"/>
          </ac:spMkLst>
        </pc:spChg>
        <pc:spChg chg="add mod">
          <ac:chgData name="Serena Yin" userId="016e0734-67ee-41ab-baa3-2b4b298a2c0e" providerId="ADAL" clId="{87F5445D-3A7D-4D07-AC92-3FA413FD57BD}" dt="2025-07-15T05:19:26.036" v="3071" actId="1036"/>
          <ac:spMkLst>
            <pc:docMk/>
            <pc:sldMk cId="3098270684" sldId="336"/>
            <ac:spMk id="33" creationId="{8D9F63D8-BA8E-BBFA-E7F9-BDB055C34967}"/>
          </ac:spMkLst>
        </pc:spChg>
        <pc:spChg chg="add mod">
          <ac:chgData name="Serena Yin" userId="016e0734-67ee-41ab-baa3-2b4b298a2c0e" providerId="ADAL" clId="{87F5445D-3A7D-4D07-AC92-3FA413FD57BD}" dt="2025-07-15T05:19:26.036" v="3071" actId="1036"/>
          <ac:spMkLst>
            <pc:docMk/>
            <pc:sldMk cId="3098270684" sldId="336"/>
            <ac:spMk id="34" creationId="{1562F13C-70A4-9869-FDB4-A690D8CB9E6C}"/>
          </ac:spMkLst>
        </pc:spChg>
        <pc:spChg chg="add mod">
          <ac:chgData name="Serena Yin" userId="016e0734-67ee-41ab-baa3-2b4b298a2c0e" providerId="ADAL" clId="{87F5445D-3A7D-4D07-AC92-3FA413FD57BD}" dt="2025-07-15T07:37:03.679" v="5709"/>
          <ac:spMkLst>
            <pc:docMk/>
            <pc:sldMk cId="3098270684" sldId="336"/>
            <ac:spMk id="37" creationId="{DD632D68-92E1-DEDD-6C66-170D63C824EF}"/>
          </ac:spMkLst>
        </pc:spChg>
        <pc:grpChg chg="mod">
          <ac:chgData name="Serena Yin" userId="016e0734-67ee-41ab-baa3-2b4b298a2c0e" providerId="ADAL" clId="{87F5445D-3A7D-4D07-AC92-3FA413FD57BD}" dt="2025-07-15T04:57:32.144" v="2025" actId="552"/>
          <ac:grpSpMkLst>
            <pc:docMk/>
            <pc:sldMk cId="3098270684" sldId="336"/>
            <ac:grpSpMk id="6" creationId="{238CCF9F-F390-49D1-ABC6-14CA1E57A658}"/>
          </ac:grpSpMkLst>
        </pc:grpChg>
        <pc:grpChg chg="mod">
          <ac:chgData name="Serena Yin" userId="016e0734-67ee-41ab-baa3-2b4b298a2c0e" providerId="ADAL" clId="{87F5445D-3A7D-4D07-AC92-3FA413FD57BD}" dt="2025-07-15T04:57:32.144" v="2025" actId="552"/>
          <ac:grpSpMkLst>
            <pc:docMk/>
            <pc:sldMk cId="3098270684" sldId="336"/>
            <ac:grpSpMk id="7" creationId="{3F56847A-7248-4D72-B01C-1114752DCDD3}"/>
          </ac:grpSpMkLst>
        </pc:grpChg>
        <pc:grpChg chg="add mod">
          <ac:chgData name="Serena Yin" userId="016e0734-67ee-41ab-baa3-2b4b298a2c0e" providerId="ADAL" clId="{87F5445D-3A7D-4D07-AC92-3FA413FD57BD}" dt="2025-07-15T04:57:32.144" v="2025" actId="552"/>
          <ac:grpSpMkLst>
            <pc:docMk/>
            <pc:sldMk cId="3098270684" sldId="336"/>
            <ac:grpSpMk id="9" creationId="{D1E6B832-440A-41BF-B4AD-1BCCF1E3DCFA}"/>
          </ac:grpSpMkLst>
        </pc:grpChg>
        <pc:grpChg chg="mod">
          <ac:chgData name="Serena Yin" userId="016e0734-67ee-41ab-baa3-2b4b298a2c0e" providerId="ADAL" clId="{87F5445D-3A7D-4D07-AC92-3FA413FD57BD}" dt="2025-07-15T04:57:32.144" v="2025" actId="552"/>
          <ac:grpSpMkLst>
            <pc:docMk/>
            <pc:sldMk cId="3098270684" sldId="336"/>
            <ac:grpSpMk id="12" creationId="{84DAB9C2-1927-4409-95BF-844E8874E3A0}"/>
          </ac:grpSpMkLst>
        </pc:grpChg>
        <pc:picChg chg="add mod">
          <ac:chgData name="Serena Yin" userId="016e0734-67ee-41ab-baa3-2b4b298a2c0e" providerId="ADAL" clId="{87F5445D-3A7D-4D07-AC92-3FA413FD57BD}" dt="2025-07-23T13:42:05.921" v="8270" actId="14861"/>
          <ac:picMkLst>
            <pc:docMk/>
            <pc:sldMk cId="3098270684" sldId="336"/>
            <ac:picMk id="2" creationId="{D9197471-9846-BEDE-52A1-72CF1E9624E8}"/>
          </ac:picMkLst>
        </pc:picChg>
        <pc:picChg chg="add mod">
          <ac:chgData name="Serena Yin" userId="016e0734-67ee-41ab-baa3-2b4b298a2c0e" providerId="ADAL" clId="{87F5445D-3A7D-4D07-AC92-3FA413FD57BD}" dt="2025-07-15T04:49:39.625" v="1634" actId="1076"/>
          <ac:picMkLst>
            <pc:docMk/>
            <pc:sldMk cId="3098270684" sldId="336"/>
            <ac:picMk id="24" creationId="{95AE17B6-D98C-1101-3FF0-948CEC16F944}"/>
          </ac:picMkLst>
        </pc:picChg>
        <pc:picChg chg="mod modCrop">
          <ac:chgData name="Serena Yin" userId="016e0734-67ee-41ab-baa3-2b4b298a2c0e" providerId="ADAL" clId="{87F5445D-3A7D-4D07-AC92-3FA413FD57BD}" dt="2025-07-15T04:49:39.625" v="1634" actId="1076"/>
          <ac:picMkLst>
            <pc:docMk/>
            <pc:sldMk cId="3098270684" sldId="336"/>
            <ac:picMk id="26" creationId="{32E3E041-77F7-0EE8-B00B-64D54A09B932}"/>
          </ac:picMkLst>
        </pc:picChg>
        <pc:picChg chg="add del mod">
          <ac:chgData name="Serena Yin" userId="016e0734-67ee-41ab-baa3-2b4b298a2c0e" providerId="ADAL" clId="{87F5445D-3A7D-4D07-AC92-3FA413FD57BD}" dt="2025-07-23T13:41:31.099" v="8264" actId="478"/>
          <ac:picMkLst>
            <pc:docMk/>
            <pc:sldMk cId="3098270684" sldId="336"/>
            <ac:picMk id="36" creationId="{47B3D25E-B6F5-7280-B516-960D58AB2416}"/>
          </ac:picMkLst>
        </pc:picChg>
        <pc:picChg chg="add mod">
          <ac:chgData name="Serena Yin" userId="016e0734-67ee-41ab-baa3-2b4b298a2c0e" providerId="ADAL" clId="{87F5445D-3A7D-4D07-AC92-3FA413FD57BD}" dt="2025-07-15T04:49:39.625" v="1634" actId="1076"/>
          <ac:picMkLst>
            <pc:docMk/>
            <pc:sldMk cId="3098270684" sldId="336"/>
            <ac:picMk id="1026" creationId="{592E5AF6-3855-8BA4-6E3C-4941B15B6CE9}"/>
          </ac:picMkLst>
        </pc:picChg>
        <pc:picChg chg="add mod">
          <ac:chgData name="Serena Yin" userId="016e0734-67ee-41ab-baa3-2b4b298a2c0e" providerId="ADAL" clId="{87F5445D-3A7D-4D07-AC92-3FA413FD57BD}" dt="2025-07-15T05:03:00.193" v="2188" actId="1076"/>
          <ac:picMkLst>
            <pc:docMk/>
            <pc:sldMk cId="3098270684" sldId="336"/>
            <ac:picMk id="1032" creationId="{FA57F416-108B-5063-F356-5395D081E86A}"/>
          </ac:picMkLst>
        </pc:picChg>
        <pc:picChg chg="add mod">
          <ac:chgData name="Serena Yin" userId="016e0734-67ee-41ab-baa3-2b4b298a2c0e" providerId="ADAL" clId="{87F5445D-3A7D-4D07-AC92-3FA413FD57BD}" dt="2025-07-15T05:15:01.662" v="2696" actId="12788"/>
          <ac:picMkLst>
            <pc:docMk/>
            <pc:sldMk cId="3098270684" sldId="336"/>
            <ac:picMk id="1036" creationId="{EBF075C0-2D34-0162-092F-492772BCED47}"/>
          </ac:picMkLst>
        </pc:picChg>
      </pc:sldChg>
      <pc:sldChg chg="add del">
        <pc:chgData name="Serena Yin" userId="016e0734-67ee-41ab-baa3-2b4b298a2c0e" providerId="ADAL" clId="{87F5445D-3A7D-4D07-AC92-3FA413FD57BD}" dt="2025-07-23T07:12:36.988" v="7919" actId="47"/>
        <pc:sldMkLst>
          <pc:docMk/>
          <pc:sldMk cId="822362155" sldId="337"/>
        </pc:sldMkLst>
      </pc:sldChg>
      <pc:sldChg chg="addSp delSp modSp add mod ord modShow">
        <pc:chgData name="Serena Yin" userId="016e0734-67ee-41ab-baa3-2b4b298a2c0e" providerId="ADAL" clId="{87F5445D-3A7D-4D07-AC92-3FA413FD57BD}" dt="2025-07-23T07:25:40.916" v="8258" actId="20577"/>
        <pc:sldMkLst>
          <pc:docMk/>
          <pc:sldMk cId="2767196405" sldId="338"/>
        </pc:sldMkLst>
        <pc:spChg chg="mod">
          <ac:chgData name="Serena Yin" userId="016e0734-67ee-41ab-baa3-2b4b298a2c0e" providerId="ADAL" clId="{87F5445D-3A7D-4D07-AC92-3FA413FD57BD}" dt="2025-07-22T09:36:34.661" v="6130" actId="20577"/>
          <ac:spMkLst>
            <pc:docMk/>
            <pc:sldMk cId="2767196405" sldId="338"/>
            <ac:spMk id="8" creationId="{EECF0A56-376A-CCB4-3C7C-946B9D345266}"/>
          </ac:spMkLst>
        </pc:spChg>
        <pc:spChg chg="mod">
          <ac:chgData name="Serena Yin" userId="016e0734-67ee-41ab-baa3-2b4b298a2c0e" providerId="ADAL" clId="{87F5445D-3A7D-4D07-AC92-3FA413FD57BD}" dt="2025-07-15T06:14:49.765" v="3746" actId="14100"/>
          <ac:spMkLst>
            <pc:docMk/>
            <pc:sldMk cId="2767196405" sldId="338"/>
            <ac:spMk id="15" creationId="{35C22848-CDF1-AD23-C1B0-6E14D61AD276}"/>
          </ac:spMkLst>
        </pc:spChg>
        <pc:spChg chg="add mod">
          <ac:chgData name="Serena Yin" userId="016e0734-67ee-41ab-baa3-2b4b298a2c0e" providerId="ADAL" clId="{87F5445D-3A7D-4D07-AC92-3FA413FD57BD}" dt="2025-07-15T05:58:51.374" v="3119"/>
          <ac:spMkLst>
            <pc:docMk/>
            <pc:sldMk cId="2767196405" sldId="338"/>
            <ac:spMk id="16" creationId="{92EB47C8-B368-F511-8CB2-0C12F6E5F45C}"/>
          </ac:spMkLst>
        </pc:spChg>
        <pc:spChg chg="add mod">
          <ac:chgData name="Serena Yin" userId="016e0734-67ee-41ab-baa3-2b4b298a2c0e" providerId="ADAL" clId="{87F5445D-3A7D-4D07-AC92-3FA413FD57BD}" dt="2025-07-15T06:53:53.731" v="4515" actId="20577"/>
          <ac:spMkLst>
            <pc:docMk/>
            <pc:sldMk cId="2767196405" sldId="338"/>
            <ac:spMk id="17" creationId="{4AAAD899-7B46-8FF8-4883-30AD60026C8E}"/>
          </ac:spMkLst>
        </pc:spChg>
        <pc:spChg chg="add mod">
          <ac:chgData name="Serena Yin" userId="016e0734-67ee-41ab-baa3-2b4b298a2c0e" providerId="ADAL" clId="{87F5445D-3A7D-4D07-AC92-3FA413FD57BD}" dt="2025-07-15T06:14:46.307" v="3745" actId="1076"/>
          <ac:spMkLst>
            <pc:docMk/>
            <pc:sldMk cId="2767196405" sldId="338"/>
            <ac:spMk id="18" creationId="{AAD8B17D-91C7-9963-70DD-F1E4B953AFB4}"/>
          </ac:spMkLst>
        </pc:spChg>
        <pc:spChg chg="mod">
          <ac:chgData name="Serena Yin" userId="016e0734-67ee-41ab-baa3-2b4b298a2c0e" providerId="ADAL" clId="{87F5445D-3A7D-4D07-AC92-3FA413FD57BD}" dt="2025-07-15T06:33:15.122" v="3909" actId="208"/>
          <ac:spMkLst>
            <pc:docMk/>
            <pc:sldMk cId="2767196405" sldId="338"/>
            <ac:spMk id="49" creationId="{D0E4EDF8-FA8A-332A-915E-5DDA700E00F3}"/>
          </ac:spMkLst>
        </pc:spChg>
        <pc:spChg chg="mod">
          <ac:chgData name="Serena Yin" userId="016e0734-67ee-41ab-baa3-2b4b298a2c0e" providerId="ADAL" clId="{87F5445D-3A7D-4D07-AC92-3FA413FD57BD}" dt="2025-07-15T06:15:12.529" v="3752"/>
          <ac:spMkLst>
            <pc:docMk/>
            <pc:sldMk cId="2767196405" sldId="338"/>
            <ac:spMk id="50" creationId="{284AB211-09B6-69AF-E5B6-D395FC430663}"/>
          </ac:spMkLst>
        </pc:spChg>
        <pc:spChg chg="mod">
          <ac:chgData name="Serena Yin" userId="016e0734-67ee-41ab-baa3-2b4b298a2c0e" providerId="ADAL" clId="{87F5445D-3A7D-4D07-AC92-3FA413FD57BD}" dt="2025-07-23T07:25:40.916" v="8258" actId="20577"/>
          <ac:spMkLst>
            <pc:docMk/>
            <pc:sldMk cId="2767196405" sldId="338"/>
            <ac:spMk id="51" creationId="{A5448190-F501-F601-3AD5-346C1646056B}"/>
          </ac:spMkLst>
        </pc:spChg>
        <pc:spChg chg="mod">
          <ac:chgData name="Serena Yin" userId="016e0734-67ee-41ab-baa3-2b4b298a2c0e" providerId="ADAL" clId="{87F5445D-3A7D-4D07-AC92-3FA413FD57BD}" dt="2025-07-23T07:24:02.344" v="7930" actId="20577"/>
          <ac:spMkLst>
            <pc:docMk/>
            <pc:sldMk cId="2767196405" sldId="338"/>
            <ac:spMk id="52" creationId="{0A19D374-75FB-0FFA-8367-EEE7D63AF699}"/>
          </ac:spMkLst>
        </pc:spChg>
        <pc:spChg chg="mod">
          <ac:chgData name="Serena Yin" userId="016e0734-67ee-41ab-baa3-2b4b298a2c0e" providerId="ADAL" clId="{87F5445D-3A7D-4D07-AC92-3FA413FD57BD}" dt="2025-07-15T06:33:25.293" v="3911" actId="208"/>
          <ac:spMkLst>
            <pc:docMk/>
            <pc:sldMk cId="2767196405" sldId="338"/>
            <ac:spMk id="54" creationId="{A32D7F10-A3DD-BE60-1047-BCE06E50B9B3}"/>
          </ac:spMkLst>
        </pc:spChg>
        <pc:spChg chg="mod">
          <ac:chgData name="Serena Yin" userId="016e0734-67ee-41ab-baa3-2b4b298a2c0e" providerId="ADAL" clId="{87F5445D-3A7D-4D07-AC92-3FA413FD57BD}" dt="2025-07-15T06:16:15.972" v="3906"/>
          <ac:spMkLst>
            <pc:docMk/>
            <pc:sldMk cId="2767196405" sldId="338"/>
            <ac:spMk id="55" creationId="{A3D1CE40-B199-CA17-D5BD-CFF41686C47D}"/>
          </ac:spMkLst>
        </pc:spChg>
        <pc:spChg chg="mod">
          <ac:chgData name="Serena Yin" userId="016e0734-67ee-41ab-baa3-2b4b298a2c0e" providerId="ADAL" clId="{87F5445D-3A7D-4D07-AC92-3FA413FD57BD}" dt="2025-07-15T06:40:54.625" v="4079" actId="20577"/>
          <ac:spMkLst>
            <pc:docMk/>
            <pc:sldMk cId="2767196405" sldId="338"/>
            <ac:spMk id="56" creationId="{C51EEB0A-B234-3D58-A2DE-CCE135BB09AC}"/>
          </ac:spMkLst>
        </pc:spChg>
        <pc:spChg chg="mod">
          <ac:chgData name="Serena Yin" userId="016e0734-67ee-41ab-baa3-2b4b298a2c0e" providerId="ADAL" clId="{87F5445D-3A7D-4D07-AC92-3FA413FD57BD}" dt="2025-07-15T06:54:45.703" v="4533" actId="20577"/>
          <ac:spMkLst>
            <pc:docMk/>
            <pc:sldMk cId="2767196405" sldId="338"/>
            <ac:spMk id="57" creationId="{ABEB7A00-BBA9-E25B-D4B9-0858AFE3AB2D}"/>
          </ac:spMkLst>
        </pc:spChg>
        <pc:spChg chg="add mod">
          <ac:chgData name="Serena Yin" userId="016e0734-67ee-41ab-baa3-2b4b298a2c0e" providerId="ADAL" clId="{87F5445D-3A7D-4D07-AC92-3FA413FD57BD}" dt="2025-07-15T06:46:03.997" v="4292"/>
          <ac:spMkLst>
            <pc:docMk/>
            <pc:sldMk cId="2767196405" sldId="338"/>
            <ac:spMk id="61" creationId="{5080FABF-289B-6D4C-5F40-3ABAF0C31890}"/>
          </ac:spMkLst>
        </pc:spChg>
        <pc:spChg chg="add mod">
          <ac:chgData name="Serena Yin" userId="016e0734-67ee-41ab-baa3-2b4b298a2c0e" providerId="ADAL" clId="{87F5445D-3A7D-4D07-AC92-3FA413FD57BD}" dt="2025-07-15T07:37:00.369" v="5708"/>
          <ac:spMkLst>
            <pc:docMk/>
            <pc:sldMk cId="2767196405" sldId="338"/>
            <ac:spMk id="62" creationId="{C4F3A8B8-78E5-6CB0-4D84-6F52313F4492}"/>
          </ac:spMkLst>
        </pc:spChg>
        <pc:grpChg chg="mod">
          <ac:chgData name="Serena Yin" userId="016e0734-67ee-41ab-baa3-2b4b298a2c0e" providerId="ADAL" clId="{87F5445D-3A7D-4D07-AC92-3FA413FD57BD}" dt="2025-07-15T06:00:05.231" v="3141" actId="12789"/>
          <ac:grpSpMkLst>
            <pc:docMk/>
            <pc:sldMk cId="2767196405" sldId="338"/>
            <ac:grpSpMk id="6" creationId="{4C91B130-2A92-C048-E09D-35E4896349F4}"/>
          </ac:grpSpMkLst>
        </pc:grpChg>
        <pc:grpChg chg="add mod">
          <ac:chgData name="Serena Yin" userId="016e0734-67ee-41ab-baa3-2b4b298a2c0e" providerId="ADAL" clId="{87F5445D-3A7D-4D07-AC92-3FA413FD57BD}" dt="2025-07-15T06:15:16.877" v="3753" actId="1076"/>
          <ac:grpSpMkLst>
            <pc:docMk/>
            <pc:sldMk cId="2767196405" sldId="338"/>
            <ac:grpSpMk id="48" creationId="{C9CBA075-0C42-0476-D234-4F27CC54382A}"/>
          </ac:grpSpMkLst>
        </pc:grpChg>
        <pc:grpChg chg="add mod">
          <ac:chgData name="Serena Yin" userId="016e0734-67ee-41ab-baa3-2b4b298a2c0e" providerId="ADAL" clId="{87F5445D-3A7D-4D07-AC92-3FA413FD57BD}" dt="2025-07-15T06:45:41.015" v="4288" actId="1076"/>
          <ac:grpSpMkLst>
            <pc:docMk/>
            <pc:sldMk cId="2767196405" sldId="338"/>
            <ac:grpSpMk id="53" creationId="{88FF180D-2E17-2F78-4DC7-D24C22C84BCE}"/>
          </ac:grpSpMkLst>
        </pc:grpChg>
        <pc:picChg chg="add mod">
          <ac:chgData name="Serena Yin" userId="016e0734-67ee-41ab-baa3-2b4b298a2c0e" providerId="ADAL" clId="{87F5445D-3A7D-4D07-AC92-3FA413FD57BD}" dt="2025-07-15T06:15:05.539" v="3750" actId="1076"/>
          <ac:picMkLst>
            <pc:docMk/>
            <pc:sldMk cId="2767196405" sldId="338"/>
            <ac:picMk id="47" creationId="{9320F991-B828-D235-4936-AC3CB9D5337A}"/>
          </ac:picMkLst>
        </pc:picChg>
        <pc:picChg chg="add mod">
          <ac:chgData name="Serena Yin" userId="016e0734-67ee-41ab-baa3-2b4b298a2c0e" providerId="ADAL" clId="{87F5445D-3A7D-4D07-AC92-3FA413FD57BD}" dt="2025-07-15T06:45:47.664" v="4289" actId="1076"/>
          <ac:picMkLst>
            <pc:docMk/>
            <pc:sldMk cId="2767196405" sldId="338"/>
            <ac:picMk id="58" creationId="{C1539D53-B647-FFA8-4054-487B029E6EC3}"/>
          </ac:picMkLst>
        </pc:picChg>
        <pc:picChg chg="add mod">
          <ac:chgData name="Serena Yin" userId="016e0734-67ee-41ab-baa3-2b4b298a2c0e" providerId="ADAL" clId="{87F5445D-3A7D-4D07-AC92-3FA413FD57BD}" dt="2025-07-15T06:42:23.909" v="4121" actId="14100"/>
          <ac:picMkLst>
            <pc:docMk/>
            <pc:sldMk cId="2767196405" sldId="338"/>
            <ac:picMk id="60" creationId="{8E5E57D6-66F9-4050-0C53-A04933907EFD}"/>
          </ac:picMkLst>
        </pc:picChg>
      </pc:sldChg>
      <pc:sldChg chg="modSp add del mod">
        <pc:chgData name="Serena Yin" userId="016e0734-67ee-41ab-baa3-2b4b298a2c0e" providerId="ADAL" clId="{87F5445D-3A7D-4D07-AC92-3FA413FD57BD}" dt="2025-07-15T07:10:47.829" v="4886" actId="2696"/>
        <pc:sldMkLst>
          <pc:docMk/>
          <pc:sldMk cId="3219462395" sldId="339"/>
        </pc:sldMkLst>
      </pc:sldChg>
      <pc:sldChg chg="modSp add mod ord">
        <pc:chgData name="Serena Yin" userId="016e0734-67ee-41ab-baa3-2b4b298a2c0e" providerId="ADAL" clId="{87F5445D-3A7D-4D07-AC92-3FA413FD57BD}" dt="2025-07-22T09:35:48.679" v="6051"/>
        <pc:sldMkLst>
          <pc:docMk/>
          <pc:sldMk cId="1486521655" sldId="340"/>
        </pc:sldMkLst>
        <pc:spChg chg="mod">
          <ac:chgData name="Serena Yin" userId="016e0734-67ee-41ab-baa3-2b4b298a2c0e" providerId="ADAL" clId="{87F5445D-3A7D-4D07-AC92-3FA413FD57BD}" dt="2025-07-15T06:39:28.274" v="3932" actId="20577"/>
          <ac:spMkLst>
            <pc:docMk/>
            <pc:sldMk cId="1486521655" sldId="340"/>
            <ac:spMk id="7" creationId="{9BD6923E-3045-985E-F3D8-BFD7FB585F40}"/>
          </ac:spMkLst>
        </pc:spChg>
      </pc:sldChg>
      <pc:sldChg chg="modSp add del mod ord modShow">
        <pc:chgData name="Serena Yin" userId="016e0734-67ee-41ab-baa3-2b4b298a2c0e" providerId="ADAL" clId="{87F5445D-3A7D-4D07-AC92-3FA413FD57BD}" dt="2025-07-15T07:20:05.370" v="5450" actId="47"/>
        <pc:sldMkLst>
          <pc:docMk/>
          <pc:sldMk cId="1777406276" sldId="341"/>
        </pc:sldMkLst>
      </pc:sldChg>
      <pc:sldChg chg="addSp delSp modSp add mod">
        <pc:chgData name="Serena Yin" userId="016e0734-67ee-41ab-baa3-2b4b298a2c0e" providerId="ADAL" clId="{87F5445D-3A7D-4D07-AC92-3FA413FD57BD}" dt="2025-07-16T15:12:30.417" v="5862" actId="20577"/>
        <pc:sldMkLst>
          <pc:docMk/>
          <pc:sldMk cId="747477100" sldId="342"/>
        </pc:sldMkLst>
        <pc:spChg chg="mod">
          <ac:chgData name="Serena Yin" userId="016e0734-67ee-41ab-baa3-2b4b298a2c0e" providerId="ADAL" clId="{87F5445D-3A7D-4D07-AC92-3FA413FD57BD}" dt="2025-07-16T15:12:01.450" v="5836" actId="20577"/>
          <ac:spMkLst>
            <pc:docMk/>
            <pc:sldMk cId="747477100" sldId="342"/>
            <ac:spMk id="3" creationId="{30F650CD-97C0-0017-1375-DD2F0595DB2A}"/>
          </ac:spMkLst>
        </pc:spChg>
        <pc:spChg chg="mod">
          <ac:chgData name="Serena Yin" userId="016e0734-67ee-41ab-baa3-2b4b298a2c0e" providerId="ADAL" clId="{87F5445D-3A7D-4D07-AC92-3FA413FD57BD}" dt="2025-07-15T07:23:35.572" v="5698" actId="1036"/>
          <ac:spMkLst>
            <pc:docMk/>
            <pc:sldMk cId="747477100" sldId="342"/>
            <ac:spMk id="4" creationId="{7D617ED6-24F9-12E3-16DB-283CA1AC004D}"/>
          </ac:spMkLst>
        </pc:spChg>
        <pc:spChg chg="mod">
          <ac:chgData name="Serena Yin" userId="016e0734-67ee-41ab-baa3-2b4b298a2c0e" providerId="ADAL" clId="{87F5445D-3A7D-4D07-AC92-3FA413FD57BD}" dt="2025-07-15T07:23:35.572" v="5698" actId="1036"/>
          <ac:spMkLst>
            <pc:docMk/>
            <pc:sldMk cId="747477100" sldId="342"/>
            <ac:spMk id="5" creationId="{DA354C5D-6F6C-E452-1859-AB0F681477EF}"/>
          </ac:spMkLst>
        </pc:spChg>
        <pc:spChg chg="mod">
          <ac:chgData name="Serena Yin" userId="016e0734-67ee-41ab-baa3-2b4b298a2c0e" providerId="ADAL" clId="{87F5445D-3A7D-4D07-AC92-3FA413FD57BD}" dt="2025-07-15T07:22:56.209" v="5672" actId="14100"/>
          <ac:spMkLst>
            <pc:docMk/>
            <pc:sldMk cId="747477100" sldId="342"/>
            <ac:spMk id="8" creationId="{C2B81611-D8F5-8347-9D7E-75EDF61DD059}"/>
          </ac:spMkLst>
        </pc:spChg>
        <pc:spChg chg="add mod">
          <ac:chgData name="Serena Yin" userId="016e0734-67ee-41ab-baa3-2b4b298a2c0e" providerId="ADAL" clId="{87F5445D-3A7D-4D07-AC92-3FA413FD57BD}" dt="2025-07-16T15:11:45.005" v="5759" actId="20577"/>
          <ac:spMkLst>
            <pc:docMk/>
            <pc:sldMk cId="747477100" sldId="342"/>
            <ac:spMk id="9" creationId="{16136C4F-5DF6-EB71-0FFA-EE7767B3CB3D}"/>
          </ac:spMkLst>
        </pc:spChg>
        <pc:spChg chg="add mod">
          <ac:chgData name="Serena Yin" userId="016e0734-67ee-41ab-baa3-2b4b298a2c0e" providerId="ADAL" clId="{87F5445D-3A7D-4D07-AC92-3FA413FD57BD}" dt="2025-07-15T07:23:35.572" v="5698" actId="1036"/>
          <ac:spMkLst>
            <pc:docMk/>
            <pc:sldMk cId="747477100" sldId="342"/>
            <ac:spMk id="17" creationId="{8D539109-1997-1FB7-EAE7-4E4B9CC298AA}"/>
          </ac:spMkLst>
        </pc:spChg>
        <pc:spChg chg="add mod">
          <ac:chgData name="Serena Yin" userId="016e0734-67ee-41ab-baa3-2b4b298a2c0e" providerId="ADAL" clId="{87F5445D-3A7D-4D07-AC92-3FA413FD57BD}" dt="2025-07-16T15:12:30.417" v="5862" actId="20577"/>
          <ac:spMkLst>
            <pc:docMk/>
            <pc:sldMk cId="747477100" sldId="342"/>
            <ac:spMk id="19" creationId="{9155C62B-DC76-1CBE-C6E4-A4B59C4012E5}"/>
          </ac:spMkLst>
        </pc:spChg>
        <pc:spChg chg="add mod">
          <ac:chgData name="Serena Yin" userId="016e0734-67ee-41ab-baa3-2b4b298a2c0e" providerId="ADAL" clId="{87F5445D-3A7D-4D07-AC92-3FA413FD57BD}" dt="2025-07-15T07:23:21.208" v="5687"/>
          <ac:spMkLst>
            <pc:docMk/>
            <pc:sldMk cId="747477100" sldId="342"/>
            <ac:spMk id="21" creationId="{65FFAA92-6ACE-63EC-B659-BD721FC925E0}"/>
          </ac:spMkLst>
        </pc:spChg>
        <pc:cxnChg chg="add mod">
          <ac:chgData name="Serena Yin" userId="016e0734-67ee-41ab-baa3-2b4b298a2c0e" providerId="ADAL" clId="{87F5445D-3A7D-4D07-AC92-3FA413FD57BD}" dt="2025-07-15T07:23:35.572" v="5698" actId="1036"/>
          <ac:cxnSpMkLst>
            <pc:docMk/>
            <pc:sldMk cId="747477100" sldId="342"/>
            <ac:cxnSpMk id="15" creationId="{865B893D-A3CC-AB6B-2EC6-F038ED7C9BF9}"/>
          </ac:cxnSpMkLst>
        </pc:cxnChg>
        <pc:cxnChg chg="add mod">
          <ac:chgData name="Serena Yin" userId="016e0734-67ee-41ab-baa3-2b4b298a2c0e" providerId="ADAL" clId="{87F5445D-3A7D-4D07-AC92-3FA413FD57BD}" dt="2025-07-15T07:23:35.572" v="5698" actId="1036"/>
          <ac:cxnSpMkLst>
            <pc:docMk/>
            <pc:sldMk cId="747477100" sldId="342"/>
            <ac:cxnSpMk id="18" creationId="{4AC16CD5-0922-EC48-128A-79685B8A6A0B}"/>
          </ac:cxnSpMkLst>
        </pc:cxnChg>
        <pc:cxnChg chg="add mod">
          <ac:chgData name="Serena Yin" userId="016e0734-67ee-41ab-baa3-2b4b298a2c0e" providerId="ADAL" clId="{87F5445D-3A7D-4D07-AC92-3FA413FD57BD}" dt="2025-07-15T07:23:35.572" v="5698" actId="1036"/>
          <ac:cxnSpMkLst>
            <pc:docMk/>
            <pc:sldMk cId="747477100" sldId="342"/>
            <ac:cxnSpMk id="20" creationId="{5ACFC44D-9764-13CF-9579-72E27C37F5FA}"/>
          </ac:cxnSpMkLst>
        </pc:cxnChg>
      </pc:sldChg>
      <pc:sldChg chg="addSp delSp modSp add mod ord modShow">
        <pc:chgData name="Serena Yin" userId="016e0734-67ee-41ab-baa3-2b4b298a2c0e" providerId="ADAL" clId="{87F5445D-3A7D-4D07-AC92-3FA413FD57BD}" dt="2025-07-23T13:43:53.748" v="8281" actId="20577"/>
        <pc:sldMkLst>
          <pc:docMk/>
          <pc:sldMk cId="2878945577" sldId="343"/>
        </pc:sldMkLst>
        <pc:spChg chg="del mod">
          <ac:chgData name="Serena Yin" userId="016e0734-67ee-41ab-baa3-2b4b298a2c0e" providerId="ADAL" clId="{87F5445D-3A7D-4D07-AC92-3FA413FD57BD}" dt="2025-07-23T06:47:50.886" v="6401" actId="478"/>
          <ac:spMkLst>
            <pc:docMk/>
            <pc:sldMk cId="2878945577" sldId="343"/>
            <ac:spMk id="2" creationId="{CF8CB08F-067A-0353-58DC-D60DAD28BA46}"/>
          </ac:spMkLst>
        </pc:spChg>
        <pc:spChg chg="add mod">
          <ac:chgData name="Serena Yin" userId="016e0734-67ee-41ab-baa3-2b4b298a2c0e" providerId="ADAL" clId="{87F5445D-3A7D-4D07-AC92-3FA413FD57BD}" dt="2025-07-23T06:43:24.935" v="6136"/>
          <ac:spMkLst>
            <pc:docMk/>
            <pc:sldMk cId="2878945577" sldId="343"/>
            <ac:spMk id="3" creationId="{24A115CC-1CD8-E322-F665-33F45D8A3F23}"/>
          </ac:spMkLst>
        </pc:spChg>
        <pc:spChg chg="mod">
          <ac:chgData name="Serena Yin" userId="016e0734-67ee-41ab-baa3-2b4b298a2c0e" providerId="ADAL" clId="{87F5445D-3A7D-4D07-AC92-3FA413FD57BD}" dt="2025-07-23T13:43:53.748" v="8281" actId="20577"/>
          <ac:spMkLst>
            <pc:docMk/>
            <pc:sldMk cId="2878945577" sldId="343"/>
            <ac:spMk id="8" creationId="{A1B5A256-C6B5-13E3-BB6A-A4681DFE9B23}"/>
          </ac:spMkLst>
        </pc:spChg>
        <pc:spChg chg="add del mod">
          <ac:chgData name="Serena Yin" userId="016e0734-67ee-41ab-baa3-2b4b298a2c0e" providerId="ADAL" clId="{87F5445D-3A7D-4D07-AC92-3FA413FD57BD}" dt="2025-07-23T06:45:01.560" v="6157" actId="478"/>
          <ac:spMkLst>
            <pc:docMk/>
            <pc:sldMk cId="2878945577" sldId="343"/>
            <ac:spMk id="9" creationId="{F93C244E-2983-CA99-80AB-29FC0AC14159}"/>
          </ac:spMkLst>
        </pc:spChg>
        <pc:spChg chg="add mod">
          <ac:chgData name="Serena Yin" userId="016e0734-67ee-41ab-baa3-2b4b298a2c0e" providerId="ADAL" clId="{87F5445D-3A7D-4D07-AC92-3FA413FD57BD}" dt="2025-07-23T06:46:55.161" v="6392" actId="1076"/>
          <ac:spMkLst>
            <pc:docMk/>
            <pc:sldMk cId="2878945577" sldId="343"/>
            <ac:spMk id="12" creationId="{F6E30A3B-0333-B521-F849-48B4E428D21E}"/>
          </ac:spMkLst>
        </pc:spChg>
        <pc:spChg chg="add del mod">
          <ac:chgData name="Serena Yin" userId="016e0734-67ee-41ab-baa3-2b4b298a2c0e" providerId="ADAL" clId="{87F5445D-3A7D-4D07-AC92-3FA413FD57BD}" dt="2025-07-23T06:47:53.933" v="6403" actId="478"/>
          <ac:spMkLst>
            <pc:docMk/>
            <pc:sldMk cId="2878945577" sldId="343"/>
            <ac:spMk id="14" creationId="{93B4B89B-B58F-D42F-C131-E2261A40FA11}"/>
          </ac:spMkLst>
        </pc:spChg>
        <pc:spChg chg="add mod">
          <ac:chgData name="Serena Yin" userId="016e0734-67ee-41ab-baa3-2b4b298a2c0e" providerId="ADAL" clId="{87F5445D-3A7D-4D07-AC92-3FA413FD57BD}" dt="2025-07-23T13:43:06.456" v="8278" actId="313"/>
          <ac:spMkLst>
            <pc:docMk/>
            <pc:sldMk cId="2878945577" sldId="343"/>
            <ac:spMk id="15" creationId="{E6819FEB-EE54-48A5-6A64-320EC4E46991}"/>
          </ac:spMkLst>
        </pc:spChg>
        <pc:spChg chg="add mod">
          <ac:chgData name="Serena Yin" userId="016e0734-67ee-41ab-baa3-2b4b298a2c0e" providerId="ADAL" clId="{87F5445D-3A7D-4D07-AC92-3FA413FD57BD}" dt="2025-07-23T06:48:11.926" v="6417" actId="20577"/>
          <ac:spMkLst>
            <pc:docMk/>
            <pc:sldMk cId="2878945577" sldId="343"/>
            <ac:spMk id="16" creationId="{8F5D3136-079D-D13E-5796-7C9F16482572}"/>
          </ac:spMkLst>
        </pc:spChg>
        <pc:spChg chg="del">
          <ac:chgData name="Serena Yin" userId="016e0734-67ee-41ab-baa3-2b4b298a2c0e" providerId="ADAL" clId="{87F5445D-3A7D-4D07-AC92-3FA413FD57BD}" dt="2025-07-23T06:44:16.413" v="6149" actId="478"/>
          <ac:spMkLst>
            <pc:docMk/>
            <pc:sldMk cId="2878945577" sldId="343"/>
            <ac:spMk id="28" creationId="{08F472F8-F4E9-7986-B1B4-0E7D37AB2C91}"/>
          </ac:spMkLst>
        </pc:spChg>
        <pc:spChg chg="del">
          <ac:chgData name="Serena Yin" userId="016e0734-67ee-41ab-baa3-2b4b298a2c0e" providerId="ADAL" clId="{87F5445D-3A7D-4D07-AC92-3FA413FD57BD}" dt="2025-07-23T06:44:14.213" v="6148" actId="478"/>
          <ac:spMkLst>
            <pc:docMk/>
            <pc:sldMk cId="2878945577" sldId="343"/>
            <ac:spMk id="29" creationId="{F3DDD226-9B08-8761-E20E-6C22965A8B33}"/>
          </ac:spMkLst>
        </pc:spChg>
        <pc:picChg chg="add del mod">
          <ac:chgData name="Serena Yin" userId="016e0734-67ee-41ab-baa3-2b4b298a2c0e" providerId="ADAL" clId="{87F5445D-3A7D-4D07-AC92-3FA413FD57BD}" dt="2025-07-23T06:44:18.127" v="6150" actId="478"/>
          <ac:picMkLst>
            <pc:docMk/>
            <pc:sldMk cId="2878945577" sldId="343"/>
            <ac:picMk id="5" creationId="{55B70364-DD80-5252-CBB7-DDF892F242F2}"/>
          </ac:picMkLst>
        </pc:picChg>
        <pc:picChg chg="add mod">
          <ac:chgData name="Serena Yin" userId="016e0734-67ee-41ab-baa3-2b4b298a2c0e" providerId="ADAL" clId="{87F5445D-3A7D-4D07-AC92-3FA413FD57BD}" dt="2025-07-23T06:46:52.043" v="6391" actId="14861"/>
          <ac:picMkLst>
            <pc:docMk/>
            <pc:sldMk cId="2878945577" sldId="343"/>
            <ac:picMk id="7" creationId="{5F943BDC-64B2-394D-9B0E-B6B4FD65C4D7}"/>
          </ac:picMkLst>
        </pc:picChg>
        <pc:cxnChg chg="add mod">
          <ac:chgData name="Serena Yin" userId="016e0734-67ee-41ab-baa3-2b4b298a2c0e" providerId="ADAL" clId="{87F5445D-3A7D-4D07-AC92-3FA413FD57BD}" dt="2025-07-23T06:48:01.302" v="6404" actId="1076"/>
          <ac:cxnSpMkLst>
            <pc:docMk/>
            <pc:sldMk cId="2878945577" sldId="343"/>
            <ac:cxnSpMk id="17" creationId="{C1AC4628-DFC7-8C1D-DCB4-2BCC2BE61E04}"/>
          </ac:cxnSpMkLst>
        </pc:cxnChg>
      </pc:sldChg>
      <pc:sldChg chg="addSp delSp modSp add mod">
        <pc:chgData name="Serena Yin" userId="016e0734-67ee-41ab-baa3-2b4b298a2c0e" providerId="ADAL" clId="{87F5445D-3A7D-4D07-AC92-3FA413FD57BD}" dt="2025-07-23T13:49:05.870" v="8320" actId="14861"/>
        <pc:sldMkLst>
          <pc:docMk/>
          <pc:sldMk cId="2405794778" sldId="344"/>
        </pc:sldMkLst>
        <pc:spChg chg="mod">
          <ac:chgData name="Serena Yin" userId="016e0734-67ee-41ab-baa3-2b4b298a2c0e" providerId="ADAL" clId="{87F5445D-3A7D-4D07-AC92-3FA413FD57BD}" dt="2025-07-23T13:44:05.631" v="8284" actId="20577"/>
          <ac:spMkLst>
            <pc:docMk/>
            <pc:sldMk cId="2405794778" sldId="344"/>
            <ac:spMk id="8" creationId="{D1010FF4-BB51-A39E-7532-67FFF48EE7B6}"/>
          </ac:spMkLst>
        </pc:spChg>
        <pc:spChg chg="mod">
          <ac:chgData name="Serena Yin" userId="016e0734-67ee-41ab-baa3-2b4b298a2c0e" providerId="ADAL" clId="{87F5445D-3A7D-4D07-AC92-3FA413FD57BD}" dt="2025-07-23T07:11:25.770" v="7915" actId="1076"/>
          <ac:spMkLst>
            <pc:docMk/>
            <pc:sldMk cId="2405794778" sldId="344"/>
            <ac:spMk id="12" creationId="{8BE51D38-B1BB-609F-C816-6A60F9CF3B18}"/>
          </ac:spMkLst>
        </pc:spChg>
        <pc:spChg chg="mod">
          <ac:chgData name="Serena Yin" userId="016e0734-67ee-41ab-baa3-2b4b298a2c0e" providerId="ADAL" clId="{87F5445D-3A7D-4D07-AC92-3FA413FD57BD}" dt="2025-07-23T07:11:18.506" v="7913" actId="1036"/>
          <ac:spMkLst>
            <pc:docMk/>
            <pc:sldMk cId="2405794778" sldId="344"/>
            <ac:spMk id="15" creationId="{E6630EC3-F14B-0A2E-4ED7-A75FD2D2156C}"/>
          </ac:spMkLst>
        </pc:spChg>
        <pc:spChg chg="mod">
          <ac:chgData name="Serena Yin" userId="016e0734-67ee-41ab-baa3-2b4b298a2c0e" providerId="ADAL" clId="{87F5445D-3A7D-4D07-AC92-3FA413FD57BD}" dt="2025-07-23T07:11:18.506" v="7913" actId="1036"/>
          <ac:spMkLst>
            <pc:docMk/>
            <pc:sldMk cId="2405794778" sldId="344"/>
            <ac:spMk id="16" creationId="{EBAE3999-C4FE-89A7-FB68-7450DE5F3DFC}"/>
          </ac:spMkLst>
        </pc:spChg>
        <pc:spChg chg="add mod">
          <ac:chgData name="Serena Yin" userId="016e0734-67ee-41ab-baa3-2b4b298a2c0e" providerId="ADAL" clId="{87F5445D-3A7D-4D07-AC92-3FA413FD57BD}" dt="2025-07-23T07:26:59.652" v="8263" actId="1076"/>
          <ac:spMkLst>
            <pc:docMk/>
            <pc:sldMk cId="2405794778" sldId="344"/>
            <ac:spMk id="26" creationId="{F159808F-E35A-C439-484E-3AF3C3B5D71B}"/>
          </ac:spMkLst>
        </pc:spChg>
        <pc:grpChg chg="add del mod">
          <ac:chgData name="Serena Yin" userId="016e0734-67ee-41ab-baa3-2b4b298a2c0e" providerId="ADAL" clId="{87F5445D-3A7D-4D07-AC92-3FA413FD57BD}" dt="2025-07-23T07:02:29.610" v="7364" actId="165"/>
          <ac:grpSpMkLst>
            <pc:docMk/>
            <pc:sldMk cId="2405794778" sldId="344"/>
            <ac:grpSpMk id="19" creationId="{F2482EA7-1418-BEEE-989E-83949A32ABED}"/>
          </ac:grpSpMkLst>
        </pc:grpChg>
        <pc:grpChg chg="add mod">
          <ac:chgData name="Serena Yin" userId="016e0734-67ee-41ab-baa3-2b4b298a2c0e" providerId="ADAL" clId="{87F5445D-3A7D-4D07-AC92-3FA413FD57BD}" dt="2025-07-23T07:03:40.044" v="7371" actId="164"/>
          <ac:grpSpMkLst>
            <pc:docMk/>
            <pc:sldMk cId="2405794778" sldId="344"/>
            <ac:grpSpMk id="22" creationId="{6EC08DFB-0DEC-F6EA-BE62-1D0FEF561662}"/>
          </ac:grpSpMkLst>
        </pc:grpChg>
        <pc:grpChg chg="add del mod">
          <ac:chgData name="Serena Yin" userId="016e0734-67ee-41ab-baa3-2b4b298a2c0e" providerId="ADAL" clId="{87F5445D-3A7D-4D07-AC92-3FA413FD57BD}" dt="2025-07-23T13:48:33.445" v="8314" actId="14100"/>
          <ac:grpSpMkLst>
            <pc:docMk/>
            <pc:sldMk cId="2405794778" sldId="344"/>
            <ac:grpSpMk id="23" creationId="{767E951E-DF96-A22D-8414-752034BFDEE0}"/>
          </ac:grpSpMkLst>
        </pc:grpChg>
        <pc:picChg chg="add mod topLvl modCrop">
          <ac:chgData name="Serena Yin" userId="016e0734-67ee-41ab-baa3-2b4b298a2c0e" providerId="ADAL" clId="{87F5445D-3A7D-4D07-AC92-3FA413FD57BD}" dt="2025-07-23T07:26:31.004" v="8261" actId="14861"/>
          <ac:picMkLst>
            <pc:docMk/>
            <pc:sldMk cId="2405794778" sldId="344"/>
            <ac:picMk id="4" creationId="{73C97F70-8131-4F3B-D10C-C9E1C8429DF7}"/>
          </ac:picMkLst>
        </pc:picChg>
        <pc:picChg chg="add del mod">
          <ac:chgData name="Serena Yin" userId="016e0734-67ee-41ab-baa3-2b4b298a2c0e" providerId="ADAL" clId="{87F5445D-3A7D-4D07-AC92-3FA413FD57BD}" dt="2025-07-23T13:47:55.069" v="8305" actId="22"/>
          <ac:picMkLst>
            <pc:docMk/>
            <pc:sldMk cId="2405794778" sldId="344"/>
            <ac:picMk id="5" creationId="{DC54445F-471D-9853-75D1-A980D0D7F2BE}"/>
          </ac:picMkLst>
        </pc:picChg>
        <pc:picChg chg="add del">
          <ac:chgData name="Serena Yin" userId="016e0734-67ee-41ab-baa3-2b4b298a2c0e" providerId="ADAL" clId="{87F5445D-3A7D-4D07-AC92-3FA413FD57BD}" dt="2025-07-23T06:56:18.744" v="6952" actId="478"/>
          <ac:picMkLst>
            <pc:docMk/>
            <pc:sldMk cId="2405794778" sldId="344"/>
            <ac:picMk id="6" creationId="{24BCD0FA-507E-1EDC-F561-4AD44DD02F08}"/>
          </ac:picMkLst>
        </pc:picChg>
        <pc:picChg chg="add del">
          <ac:chgData name="Serena Yin" userId="016e0734-67ee-41ab-baa3-2b4b298a2c0e" providerId="ADAL" clId="{87F5445D-3A7D-4D07-AC92-3FA413FD57BD}" dt="2025-07-23T13:47:50.377" v="8297" actId="22"/>
          <ac:picMkLst>
            <pc:docMk/>
            <pc:sldMk cId="2405794778" sldId="344"/>
            <ac:picMk id="7" creationId="{0943C0B4-83D2-2996-49F1-99398CFF95DC}"/>
          </ac:picMkLst>
        </pc:picChg>
        <pc:picChg chg="del">
          <ac:chgData name="Serena Yin" userId="016e0734-67ee-41ab-baa3-2b4b298a2c0e" providerId="ADAL" clId="{87F5445D-3A7D-4D07-AC92-3FA413FD57BD}" dt="2025-07-23T06:53:20.404" v="6946" actId="478"/>
          <ac:picMkLst>
            <pc:docMk/>
            <pc:sldMk cId="2405794778" sldId="344"/>
            <ac:picMk id="7" creationId="{9674E9A7-5E3F-1D73-218F-C73A9A471AF6}"/>
          </ac:picMkLst>
        </pc:picChg>
        <pc:picChg chg="add mod">
          <ac:chgData name="Serena Yin" userId="016e0734-67ee-41ab-baa3-2b4b298a2c0e" providerId="ADAL" clId="{87F5445D-3A7D-4D07-AC92-3FA413FD57BD}" dt="2025-07-23T13:49:05.870" v="8320" actId="14861"/>
          <ac:picMkLst>
            <pc:docMk/>
            <pc:sldMk cId="2405794778" sldId="344"/>
            <ac:picMk id="13" creationId="{0AEBB6DF-2426-086C-D37B-B687125913FC}"/>
          </ac:picMkLst>
        </pc:picChg>
        <pc:picChg chg="add del mod topLvl modCrop">
          <ac:chgData name="Serena Yin" userId="016e0734-67ee-41ab-baa3-2b4b298a2c0e" providerId="ADAL" clId="{87F5445D-3A7D-4D07-AC92-3FA413FD57BD}" dt="2025-07-23T07:02:33.003" v="7365" actId="478"/>
          <ac:picMkLst>
            <pc:docMk/>
            <pc:sldMk cId="2405794778" sldId="344"/>
            <ac:picMk id="13" creationId="{6B16F06E-037B-853B-7F27-4F4DC6AC9505}"/>
          </ac:picMkLst>
        </pc:picChg>
        <pc:picChg chg="add mod topLvl">
          <ac:chgData name="Serena Yin" userId="016e0734-67ee-41ab-baa3-2b4b298a2c0e" providerId="ADAL" clId="{87F5445D-3A7D-4D07-AC92-3FA413FD57BD}" dt="2025-07-23T07:03:49.900" v="7372" actId="164"/>
          <ac:picMkLst>
            <pc:docMk/>
            <pc:sldMk cId="2405794778" sldId="344"/>
            <ac:picMk id="18" creationId="{45ACEDF8-FD85-01E0-6BCA-21792663D333}"/>
          </ac:picMkLst>
        </pc:picChg>
        <pc:picChg chg="add mod">
          <ac:chgData name="Serena Yin" userId="016e0734-67ee-41ab-baa3-2b4b298a2c0e" providerId="ADAL" clId="{87F5445D-3A7D-4D07-AC92-3FA413FD57BD}" dt="2025-07-23T07:26:43.551" v="8262" actId="1076"/>
          <ac:picMkLst>
            <pc:docMk/>
            <pc:sldMk cId="2405794778" sldId="344"/>
            <ac:picMk id="21" creationId="{22DB0419-C105-6D96-4BBA-04E8B04E4AC9}"/>
          </ac:picMkLst>
        </pc:picChg>
        <pc:picChg chg="add del">
          <ac:chgData name="Serena Yin" userId="016e0734-67ee-41ab-baa3-2b4b298a2c0e" providerId="ADAL" clId="{87F5445D-3A7D-4D07-AC92-3FA413FD57BD}" dt="2025-07-23T07:06:04.262" v="7590" actId="22"/>
          <ac:picMkLst>
            <pc:docMk/>
            <pc:sldMk cId="2405794778" sldId="344"/>
            <ac:picMk id="25" creationId="{C3B4DACD-3FE5-A4D8-5521-9AB6177E9BDE}"/>
          </ac:picMkLst>
        </pc:picChg>
        <pc:cxnChg chg="mod">
          <ac:chgData name="Serena Yin" userId="016e0734-67ee-41ab-baa3-2b4b298a2c0e" providerId="ADAL" clId="{87F5445D-3A7D-4D07-AC92-3FA413FD57BD}" dt="2025-07-23T07:11:18.506" v="7913" actId="1036"/>
          <ac:cxnSpMkLst>
            <pc:docMk/>
            <pc:sldMk cId="2405794778" sldId="344"/>
            <ac:cxnSpMk id="17" creationId="{A10B77DB-ECAB-D7E9-5AC0-131041478A9F}"/>
          </ac:cxnSpMkLst>
        </pc:cxnChg>
      </pc:sldChg>
    </pc:docChg>
  </pc:docChgLst>
</pc:chgInfo>
</file>

<file path=ppt/comments/modernComment_150_B8ABDBD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8E8E8E6-D09F-4213-9A97-74CA7CEAD58E}" authorId="{97AFE606-FE03-8156-78FE-89F16B8E4C1E}" status="resolved" created="2025-07-15T13:52:43.909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098270684" sldId="336"/>
      <ac:spMk id="15" creationId="{43DA835E-59D3-42B0-9ED8-A74C59C56077}"/>
    </ac:deMkLst>
    <p188:txBody>
      <a:bodyPr/>
      <a:lstStyle/>
      <a:p>
        <a:r>
          <a:rPr lang="en-US"/>
          <a:t>Good to mention from UN Library</a:t>
        </a:r>
      </a:p>
    </p188:txBody>
  </p188:cm>
  <p188:cm id="{54616284-8264-49CB-A1B4-54659AEF6195}" authorId="{97AFE606-FE03-8156-78FE-89F16B8E4C1E}" status="resolved" created="2025-07-15T13:53:45.710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098270684" sldId="336"/>
      <ac:spMk id="21" creationId="{912B00AA-8086-442B-B8F0-B0D21B02D38C}"/>
    </ac:deMkLst>
    <p188:replyLst>
      <p188:reply id="{394B142D-3BB5-40CD-B5DC-83B88EFEFAB9}" authorId="{56FB1F6F-259D-6C5D-8595-EB6874746620}" created="2025-07-15T16:07:35.186">
        <p188:txBody>
          <a:bodyPr/>
          <a:lstStyle/>
          <a:p>
            <a:r>
              <a:rPr lang="en-US"/>
              <a:t>yes, agree with Ralph</a:t>
            </a:r>
          </a:p>
        </p188:txBody>
      </p188:reply>
    </p188:replyLst>
    <p188:txBody>
      <a:bodyPr/>
      <a:lstStyle/>
      <a:p>
        <a:r>
          <a:rPr lang="en-US"/>
          <a:t>Should mention that we chose them bc 1) wanted to validate what we knew (like Canada); 2) wanted to see what we didnt know (e.g. UAE/Qatar - we kinda know a little what they prioritize but dont know 100%)</a:t>
        </a:r>
      </a:p>
    </p188:txBody>
  </p188:cm>
</p188:cmLst>
</file>

<file path=ppt/comments/modernComment_152_A4F010F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D56C011-13BB-4A0B-9BD7-5E7C5D15BF90}" authorId="{97AFE606-FE03-8156-78FE-89F16B8E4C1E}" status="resolved" created="2025-07-15T13:52:03.110" complete="100000">
    <pc:sldMkLst xmlns:pc="http://schemas.microsoft.com/office/powerpoint/2013/main/command">
      <pc:docMk/>
      <pc:sldMk cId="2767196405" sldId="338"/>
    </pc:sldMkLst>
    <p188:txBody>
      <a:bodyPr/>
      <a:lstStyle/>
      <a:p>
        <a:r>
          <a:rPr lang="en-US"/>
          <a:t>Maybe also good to have a slide on your findings like 1) validated what we kinda know e.g. Canada - gender; 2) need to look more into things we don't know; 3) we are limited to the information out there that is being published by Member States (can be a bit biased - like Qatar or UAE (?) with hate speech - that it is so impt to them but they only published a few articles), limited to English language etc... maybe having example would be helpful</a:t>
        </a:r>
      </a:p>
    </p188:txBody>
  </p188:cm>
  <p188:cm id="{FB5EDCA1-D4C3-465D-A17A-99346C926D97}" authorId="{56FB1F6F-259D-6C5D-8595-EB6874746620}" status="resolved" created="2025-07-15T16:09:28.658" complete="100000">
    <pc:sldMkLst xmlns:pc="http://schemas.microsoft.com/office/powerpoint/2013/main/command">
      <pc:docMk/>
      <pc:sldMk cId="2767196405" sldId="338"/>
    </pc:sldMkLst>
    <p188:txBody>
      <a:bodyPr/>
      <a:lstStyle/>
      <a:p>
        <a:r>
          <a:rPr lang="en-US"/>
          <a:t>Would suggest renaming this slide as 'Important Caveats' or ' Considerations or Constraints'. And this slide should appear before the demo</a:t>
        </a:r>
      </a:p>
    </p188:txBody>
  </p188:cm>
</p188:cmLst>
</file>

<file path=ppt/comments/modernComment_154_589A853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BE25EF7-5944-4F72-9CE3-AB5280851B63}" authorId="{CD9C6903-D0E6-19D2-023E-2C17544547D9}" created="2025-07-15T06:39:46.312">
    <pc:sldMkLst xmlns:pc="http://schemas.microsoft.com/office/powerpoint/2013/main/command">
      <pc:docMk/>
      <pc:sldMk cId="1486521655" sldId="340"/>
    </pc:sldMkLst>
    <p188:replyLst>
      <p188:reply id="{AEE80F13-E622-49CD-BCA2-D57765081E42}" authorId="{97AFE606-FE03-8156-78FE-89F16B8E4C1E}" created="2025-07-15T13:47:51.249">
        <p188:txBody>
          <a:bodyPr/>
          <a:lstStyle/>
          <a:p>
            <a:r>
              <a:rPr lang="en-US"/>
              <a:t>We can make time but also suggest like screenshots to be put in a slide with commentary</a:t>
            </a:r>
          </a:p>
        </p188:txBody>
      </p188:reply>
      <p188:reply id="{DCFC4AC5-14DB-43D7-9A61-26257EFA9D53}" authorId="{56FB1F6F-259D-6C5D-8595-EB6874746620}" created="2025-07-15T16:13:51.666">
        <p188:txBody>
          <a:bodyPr/>
          <a:lstStyle/>
          <a:p>
            <a:r>
              <a:rPr lang="en-US"/>
              <a:t>We should give a demo and ask for feedback</a:t>
            </a:r>
          </a:p>
        </p188:txBody>
      </p188:reply>
      <p188:reply id="{33254ED0-02D4-4249-B6CD-2E6F3CD60C99}" authorId="{4664B119-CF8D-18A2-523D-2D460C159651}" created="2025-07-15T19:09:10.140">
        <p188:txBody>
          <a:bodyPr/>
          <a:lstStyle/>
          <a:p>
            <a:r>
              <a:rPr lang="en-US"/>
              <a:t>Demo might be better at the end</a:t>
            </a:r>
          </a:p>
        </p188:txBody>
      </p188:reply>
    </p188:replyLst>
    <p188:txBody>
      <a:bodyPr/>
      <a:lstStyle/>
      <a:p>
        <a:r>
          <a:rPr lang="en-US"/>
          <a:t>Do we have time for this?</a:t>
        </a:r>
      </a:p>
    </p188:txBody>
  </p188:cm>
</p188:cmLst>
</file>

<file path=ppt/comments/modernComment_156_2C8D986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5179B2B-81ED-42D9-B48C-40C9DB02858B}" authorId="{97AFE606-FE03-8156-78FE-89F16B8E4C1E}" status="resolved" created="2025-07-15T13:49:24.380" complete="100000">
    <pc:sldMkLst xmlns:pc="http://schemas.microsoft.com/office/powerpoint/2013/main/command">
      <pc:docMk/>
      <pc:sldMk cId="747477100" sldId="342"/>
    </pc:sldMkLst>
    <p188:txBody>
      <a:bodyPr/>
      <a:lstStyle/>
      <a:p>
        <a:r>
          <a:rPr lang="en-US"/>
          <a:t>I also think maybe you can add like the transition to [@Haruka George] or next intern etc</a:t>
        </a:r>
      </a:p>
    </p188:txBody>
  </p188:cm>
  <p188:cm id="{38F4AA51-872C-464C-9024-1591EB9B0844}" authorId="{4664B119-CF8D-18A2-523D-2D460C159651}" status="resolved" created="2025-07-15T19:10:56.284" complete="100000">
    <pc:sldMkLst xmlns:pc="http://schemas.microsoft.com/office/powerpoint/2013/main/command">
      <pc:docMk/>
      <pc:sldMk cId="747477100" sldId="342"/>
    </pc:sldMkLst>
    <p188:txBody>
      <a:bodyPr/>
      <a:lstStyle/>
      <a:p>
        <a:r>
          <a:rPr lang="en-US"/>
          <a:t>Also adding more member states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7/2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928" userDrawn="1">
          <p15:clr>
            <a:srgbClr val="F26B43"/>
          </p15:clr>
        </p15:guide>
        <p15:guide id="2" pos="2208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7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6" rtl="0" eaLnBrk="1" latinLnBrk="0" hangingPunct="1">
      <a:defRPr sz="1219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6" rtl="0" eaLnBrk="1" latinLnBrk="0" hangingPunct="1">
      <a:defRPr sz="1219" kern="1200">
        <a:solidFill>
          <a:schemeClr val="tx1"/>
        </a:solidFill>
        <a:latin typeface="+mn-lt"/>
        <a:ea typeface="+mn-ea"/>
        <a:cs typeface="+mn-cs"/>
      </a:defRPr>
    </a:lvl2pPr>
    <a:lvl3pPr marL="914376" algn="l" defTabSz="914376" rtl="0" eaLnBrk="1" latinLnBrk="0" hangingPunct="1">
      <a:defRPr sz="1219" kern="1200">
        <a:solidFill>
          <a:schemeClr val="tx1"/>
        </a:solidFill>
        <a:latin typeface="+mn-lt"/>
        <a:ea typeface="+mn-ea"/>
        <a:cs typeface="+mn-cs"/>
      </a:defRPr>
    </a:lvl3pPr>
    <a:lvl4pPr marL="1371564" algn="l" defTabSz="914376" rtl="0" eaLnBrk="1" latinLnBrk="0" hangingPunct="1">
      <a:defRPr sz="1219" kern="1200">
        <a:solidFill>
          <a:schemeClr val="tx1"/>
        </a:solidFill>
        <a:latin typeface="+mn-lt"/>
        <a:ea typeface="+mn-ea"/>
        <a:cs typeface="+mn-cs"/>
      </a:defRPr>
    </a:lvl4pPr>
    <a:lvl5pPr marL="1828752" algn="l" defTabSz="914376" rtl="0" eaLnBrk="1" latinLnBrk="0" hangingPunct="1">
      <a:defRPr sz="1219" kern="1200">
        <a:solidFill>
          <a:schemeClr val="tx1"/>
        </a:solidFill>
        <a:latin typeface="+mn-lt"/>
        <a:ea typeface="+mn-ea"/>
        <a:cs typeface="+mn-cs"/>
      </a:defRPr>
    </a:lvl5pPr>
    <a:lvl6pPr marL="2285939" algn="l" defTabSz="914376" rtl="0" eaLnBrk="1" latinLnBrk="0" hangingPunct="1">
      <a:defRPr sz="1219" kern="1200">
        <a:solidFill>
          <a:schemeClr val="tx1"/>
        </a:solidFill>
        <a:latin typeface="+mn-lt"/>
        <a:ea typeface="+mn-ea"/>
        <a:cs typeface="+mn-cs"/>
      </a:defRPr>
    </a:lvl6pPr>
    <a:lvl7pPr marL="2743128" algn="l" defTabSz="914376" rtl="0" eaLnBrk="1" latinLnBrk="0" hangingPunct="1">
      <a:defRPr sz="1219" kern="1200">
        <a:solidFill>
          <a:schemeClr val="tx1"/>
        </a:solidFill>
        <a:latin typeface="+mn-lt"/>
        <a:ea typeface="+mn-ea"/>
        <a:cs typeface="+mn-cs"/>
      </a:defRPr>
    </a:lvl7pPr>
    <a:lvl8pPr marL="3200317" algn="l" defTabSz="914376" rtl="0" eaLnBrk="1" latinLnBrk="0" hangingPunct="1">
      <a:defRPr sz="1219" kern="1200">
        <a:solidFill>
          <a:schemeClr val="tx1"/>
        </a:solidFill>
        <a:latin typeface="+mn-lt"/>
        <a:ea typeface="+mn-ea"/>
        <a:cs typeface="+mn-cs"/>
      </a:defRPr>
    </a:lvl8pPr>
    <a:lvl9pPr marL="3657505" algn="l" defTabSz="914376" rtl="0" eaLnBrk="1" latinLnBrk="0" hangingPunct="1">
      <a:defRPr sz="121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9.emf"/><Relationship Id="rId10" Type="http://schemas.openxmlformats.org/officeDocument/2006/relationships/image" Target="../media/image6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0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openxmlformats.org/officeDocument/2006/relationships/image" Target="../media/image9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6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2.png"/><Relationship Id="rId4" Type="http://schemas.openxmlformats.org/officeDocument/2006/relationships/image" Target="../media/image10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7722697"/>
              </p:ext>
            </p:extLst>
          </p:nvPr>
        </p:nvGraphicFramePr>
        <p:xfrm>
          <a:off x="1986" y="1490"/>
          <a:ext cx="1986" cy="1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86" y="1490"/>
                        <a:ext cx="1986" cy="1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54989199-0AD9-3BF3-24B6-AB35705730B0}"/>
              </a:ext>
            </a:extLst>
          </p:cNvPr>
          <p:cNvSpPr/>
          <p:nvPr userDrawn="1"/>
        </p:nvSpPr>
        <p:spPr>
          <a:xfrm>
            <a:off x="81" y="2"/>
            <a:ext cx="12191842" cy="857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20" rIns="91438" bIns="45720" rtlCol="0" anchor="ctr"/>
          <a:lstStyle/>
          <a:p>
            <a:pPr algn="ctr"/>
            <a:endParaRPr lang="en-US" sz="1781"/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98373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563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367240"/>
            <a:ext cx="10820400" cy="1061763"/>
          </a:xfrm>
        </p:spPr>
        <p:txBody>
          <a:bodyPr vert="horz" wrap="square" tIns="0" bIns="0" anchor="t" anchorCtr="0">
            <a:noAutofit/>
          </a:bodyPr>
          <a:lstStyle>
            <a:lvl1pPr>
              <a:defRPr sz="3600" b="0" cap="all" baseline="0">
                <a:latin typeface="+mj-lt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723710"/>
            <a:ext cx="10820400" cy="165815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1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 marL="457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10829175" y="5492042"/>
            <a:ext cx="1220441" cy="12734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20" rIns="91438" bIns="45720" rtlCol="0" anchor="ctr"/>
          <a:lstStyle/>
          <a:p>
            <a:pPr algn="ctr"/>
            <a:endParaRPr lang="en-US" sz="1781">
              <a:latin typeface="+mn-lt"/>
            </a:endParaRP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4597690"/>
            <a:ext cx="10820399" cy="1188751"/>
          </a:xfrm>
        </p:spPr>
        <p:txBody>
          <a:bodyPr>
            <a:noAutofit/>
          </a:bodyPr>
          <a:lstStyle>
            <a:lvl1pPr marL="0" indent="0">
              <a:buNone/>
              <a:defRPr sz="14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peaker / Organization / Da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8071DF-CA43-CEDF-A641-66BA671149B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696" y="237153"/>
            <a:ext cx="1543184" cy="44009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9327E37-978B-2D9E-7B30-DF3868A93314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1446938" y="253731"/>
            <a:ext cx="575560" cy="530260"/>
            <a:chOff x="17454" y="1303"/>
            <a:chExt cx="464234" cy="427420"/>
          </a:xfrm>
        </p:grpSpPr>
        <p:pic>
          <p:nvPicPr>
            <p:cNvPr id="7" name="Graphic 3">
              <a:extLst>
                <a:ext uri="{FF2B5EF4-FFF2-40B4-BE49-F238E27FC236}">
                  <a16:creationId xmlns:a16="http://schemas.microsoft.com/office/drawing/2014/main" id="{EB614EEB-1A22-F433-4D18-36F936C852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8" name="Graphic 4">
              <a:extLst>
                <a:ext uri="{FF2B5EF4-FFF2-40B4-BE49-F238E27FC236}">
                  <a16:creationId xmlns:a16="http://schemas.microsoft.com/office/drawing/2014/main" id="{57FF813D-227C-2C63-1582-0F372FDC4B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9" name="Graphic 11">
              <a:extLst>
                <a:ext uri="{FF2B5EF4-FFF2-40B4-BE49-F238E27FC236}">
                  <a16:creationId xmlns:a16="http://schemas.microsoft.com/office/drawing/2014/main" id="{510C5D1B-FC52-1EFE-DC89-789C52D91E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62B9AB8-AB0E-53C9-BB38-2685D9B063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667057"/>
              </p:ext>
            </p:extLst>
          </p:nvPr>
        </p:nvGraphicFramePr>
        <p:xfrm>
          <a:off x="1490" y="1490"/>
          <a:ext cx="1490" cy="1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2B9AB8-AB0E-53C9-BB38-2685D9B063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90" y="1490"/>
                        <a:ext cx="1490" cy="1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DA86C1-B273-1417-9BB1-325C095437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838029"/>
            <a:ext cx="10820400" cy="3944656"/>
          </a:xfrm>
        </p:spPr>
        <p:txBody>
          <a:bodyPr/>
          <a:lstStyle>
            <a:lvl1pPr marL="218748" indent="-218748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28565" indent="-209819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D8DC42-5FB7-F7F2-1B7E-F11E8E964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914398"/>
            <a:ext cx="10820400" cy="685802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4DF1FF32-9770-A676-A6BB-676C9EC9B59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35461" y="2330652"/>
            <a:ext cx="4455729" cy="3455789"/>
          </a:xfrm>
        </p:spPr>
        <p:txBody>
          <a:bodyPr tIns="91440"/>
          <a:lstStyle>
            <a:lvl1pPr marL="128570" indent="-12857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99995" indent="-171426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48563" indent="-162855">
              <a:lnSpc>
                <a:spcPct val="114000"/>
              </a:lnSpc>
              <a:spcBef>
                <a:spcPts val="0"/>
              </a:spcBef>
              <a:defRPr sz="1125"/>
            </a:lvl3pPr>
            <a:lvl4pPr>
              <a:lnSpc>
                <a:spcPct val="114000"/>
              </a:lnSpc>
              <a:spcBef>
                <a:spcPts val="0"/>
              </a:spcBef>
              <a:defRPr sz="1219"/>
            </a:lvl4pPr>
            <a:lvl5pPr>
              <a:lnSpc>
                <a:spcPct val="114000"/>
              </a:lnSpc>
              <a:spcBef>
                <a:spcPts val="0"/>
              </a:spcBef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70AE75-30F0-E69B-335C-CA3BD26F27F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00817" y="2330652"/>
            <a:ext cx="4446112" cy="3455789"/>
          </a:xfrm>
        </p:spPr>
        <p:txBody>
          <a:bodyPr tIns="91440"/>
          <a:lstStyle>
            <a:lvl1pPr marL="128570" indent="-12857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57138" indent="-171426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48563" indent="-162855">
              <a:defRPr sz="1125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1718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9460657"/>
              </p:ext>
            </p:extLst>
          </p:nvPr>
        </p:nvGraphicFramePr>
        <p:xfrm>
          <a:off x="1986" y="1490"/>
          <a:ext cx="1986" cy="1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86" y="1490"/>
                        <a:ext cx="1986" cy="1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838029"/>
            <a:ext cx="10820400" cy="3944656"/>
          </a:xfrm>
        </p:spPr>
        <p:txBody>
          <a:bodyPr/>
          <a:lstStyle>
            <a:lvl1pPr marL="218748" indent="-218748">
              <a:defRPr sz="1500">
                <a:solidFill>
                  <a:schemeClr val="bg2">
                    <a:lumMod val="50000"/>
                  </a:schemeClr>
                </a:solidFill>
              </a:defRPr>
            </a:lvl1pPr>
            <a:lvl2pPr marL="428565" indent="-209819">
              <a:defRPr sz="15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98373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38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235462" y="2330652"/>
            <a:ext cx="2970423" cy="3455789"/>
          </a:xfrm>
        </p:spPr>
        <p:txBody>
          <a:bodyPr tIns="91440"/>
          <a:lstStyle>
            <a:lvl1pPr marL="128570" indent="-128570">
              <a:lnSpc>
                <a:spcPct val="114000"/>
              </a:lnSpc>
              <a:spcBef>
                <a:spcPts val="0"/>
              </a:spcBef>
              <a:defRPr sz="1312">
                <a:solidFill>
                  <a:schemeClr val="bg2">
                    <a:lumMod val="50000"/>
                  </a:schemeClr>
                </a:solidFill>
              </a:defRPr>
            </a:lvl1pPr>
            <a:lvl2pPr marL="299995" indent="-171426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312">
                <a:solidFill>
                  <a:schemeClr val="bg2">
                    <a:lumMod val="50000"/>
                  </a:schemeClr>
                </a:solidFill>
              </a:defRPr>
            </a:lvl2pPr>
            <a:lvl3pPr marL="548563" indent="-162855">
              <a:lnSpc>
                <a:spcPct val="114000"/>
              </a:lnSpc>
              <a:spcBef>
                <a:spcPts val="0"/>
              </a:spcBef>
              <a:defRPr sz="1125"/>
            </a:lvl3pPr>
            <a:lvl4pPr>
              <a:lnSpc>
                <a:spcPct val="114000"/>
              </a:lnSpc>
              <a:spcBef>
                <a:spcPts val="0"/>
              </a:spcBef>
              <a:defRPr sz="1219"/>
            </a:lvl4pPr>
            <a:lvl5pPr>
              <a:lnSpc>
                <a:spcPct val="114000"/>
              </a:lnSpc>
              <a:spcBef>
                <a:spcPts val="0"/>
              </a:spcBef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7986120" y="2326896"/>
            <a:ext cx="2970423" cy="3455789"/>
          </a:xfrm>
        </p:spPr>
        <p:txBody>
          <a:bodyPr tIns="91440"/>
          <a:lstStyle>
            <a:lvl1pPr marL="128570" indent="-128570">
              <a:defRPr sz="1312">
                <a:solidFill>
                  <a:schemeClr val="bg2">
                    <a:lumMod val="50000"/>
                  </a:schemeClr>
                </a:solidFill>
              </a:defRPr>
            </a:lvl1pPr>
            <a:lvl2pPr marL="257138" indent="-171426">
              <a:buFont typeface="Arial" panose="020B0604020202020204" pitchFamily="34" charset="0"/>
              <a:buChar char="-"/>
              <a:defRPr sz="1312">
                <a:solidFill>
                  <a:schemeClr val="bg2">
                    <a:lumMod val="50000"/>
                  </a:schemeClr>
                </a:solidFill>
              </a:defRPr>
            </a:lvl2pPr>
            <a:lvl3pPr marL="548563" indent="-162855">
              <a:defRPr sz="1125"/>
            </a:lvl3pPr>
            <a:lvl4pPr>
              <a:defRPr sz="1219"/>
            </a:lvl4pPr>
            <a:lvl5pPr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4610698" y="2330652"/>
            <a:ext cx="2970423" cy="3455789"/>
          </a:xfrm>
        </p:spPr>
        <p:txBody>
          <a:bodyPr tIns="91440"/>
          <a:lstStyle>
            <a:lvl1pPr marL="127975" indent="-127975" algn="l" defTabSz="914388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312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57138" indent="-171426" algn="l" defTabSz="914388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312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48563" indent="-162855">
              <a:lnSpc>
                <a:spcPct val="114000"/>
              </a:lnSpc>
              <a:spcBef>
                <a:spcPts val="0"/>
              </a:spcBef>
              <a:defRPr sz="1125"/>
            </a:lvl3pPr>
            <a:lvl4pPr>
              <a:lnSpc>
                <a:spcPct val="114000"/>
              </a:lnSpc>
              <a:spcBef>
                <a:spcPts val="0"/>
              </a:spcBef>
              <a:defRPr sz="1219"/>
            </a:lvl4pPr>
            <a:lvl5pPr>
              <a:lnSpc>
                <a:spcPct val="114000"/>
              </a:lnSpc>
              <a:spcBef>
                <a:spcPts val="0"/>
              </a:spcBef>
              <a:defRPr sz="121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914400"/>
            <a:ext cx="10820400" cy="685800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5601163"/>
              </p:ext>
            </p:extLst>
          </p:nvPr>
        </p:nvGraphicFramePr>
        <p:xfrm>
          <a:off x="1986" y="1490"/>
          <a:ext cx="1986" cy="1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86" y="1490"/>
                        <a:ext cx="1986" cy="1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98373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38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81" y="2"/>
            <a:ext cx="12191842" cy="921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20" rIns="91438" bIns="45720" rtlCol="0" anchor="ctr"/>
          <a:lstStyle/>
          <a:p>
            <a:pPr algn="ctr"/>
            <a:endParaRPr lang="en-US" sz="178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370989"/>
            <a:ext cx="10820400" cy="210955"/>
          </a:xfrm>
        </p:spPr>
        <p:txBody>
          <a:bodyPr vert="horz" wrap="square" tIns="0" bIns="0" anchor="t">
            <a:spAutoFit/>
          </a:bodyPr>
          <a:lstStyle>
            <a:lvl1pPr algn="l">
              <a:defRPr sz="2438" b="1"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CDA6CC7-A9DC-0AEA-B14A-B20D143B52D2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1446938" y="253731"/>
            <a:ext cx="575560" cy="530260"/>
            <a:chOff x="17454" y="1303"/>
            <a:chExt cx="464234" cy="427420"/>
          </a:xfrm>
        </p:grpSpPr>
        <p:pic>
          <p:nvPicPr>
            <p:cNvPr id="5" name="Graphic 3">
              <a:extLst>
                <a:ext uri="{FF2B5EF4-FFF2-40B4-BE49-F238E27FC236}">
                  <a16:creationId xmlns:a16="http://schemas.microsoft.com/office/drawing/2014/main" id="{76E76976-FAC8-C66A-DD08-D214047308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6" name="Graphic 4">
              <a:extLst>
                <a:ext uri="{FF2B5EF4-FFF2-40B4-BE49-F238E27FC236}">
                  <a16:creationId xmlns:a16="http://schemas.microsoft.com/office/drawing/2014/main" id="{55029DA9-0A64-4E12-45B0-00F901ACB3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0" name="Graphic 11">
              <a:extLst>
                <a:ext uri="{FF2B5EF4-FFF2-40B4-BE49-F238E27FC236}">
                  <a16:creationId xmlns:a16="http://schemas.microsoft.com/office/drawing/2014/main" id="{AFE8AA8B-D22A-4B95-F1A3-0B0B3A28D8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0DAD02D-803D-F0E9-3FA9-353917AF2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994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DAD02D-803D-F0E9-3FA9-353917AF2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81" y="0"/>
            <a:ext cx="1219184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20" rIns="91438" bIns="45720" rtlCol="0" anchor="ctr"/>
          <a:lstStyle/>
          <a:p>
            <a:pPr algn="ctr"/>
            <a:endParaRPr lang="en-US" sz="178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52737A-D302-BAA8-0284-53622B707C8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696" y="6180753"/>
            <a:ext cx="1543184" cy="440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image" Target="../media/image4.sv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17" Type="http://schemas.openxmlformats.org/officeDocument/2006/relationships/image" Target="../media/image8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6.svg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16862563"/>
              </p:ext>
            </p:extLst>
          </p:nvPr>
        </p:nvGraphicFramePr>
        <p:xfrm>
          <a:off x="1987" y="1492"/>
          <a:ext cx="1983" cy="1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87" y="1492"/>
                        <a:ext cx="1983" cy="1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" y="1"/>
            <a:ext cx="198373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38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914398"/>
            <a:ext cx="10896600" cy="685802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857377"/>
            <a:ext cx="10896600" cy="39290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10719761" y="6692990"/>
            <a:ext cx="1094760" cy="812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938" b="1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pPr algn="r"/>
              <a:t>‹#›</a:t>
            </a:fld>
            <a:endParaRPr lang="en-US" sz="938" b="1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778758F-5C4B-A723-7FB7-16304BF636F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696" y="237153"/>
            <a:ext cx="1543184" cy="4400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252FECBD-424A-0623-490C-1ADE298684CC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1446938" y="253731"/>
            <a:ext cx="575560" cy="530260"/>
            <a:chOff x="17454" y="1303"/>
            <a:chExt cx="464234" cy="427420"/>
          </a:xfrm>
        </p:grpSpPr>
        <p:pic>
          <p:nvPicPr>
            <p:cNvPr id="28" name="Graphic 3">
              <a:extLst>
                <a:ext uri="{FF2B5EF4-FFF2-40B4-BE49-F238E27FC236}">
                  <a16:creationId xmlns:a16="http://schemas.microsoft.com/office/drawing/2014/main" id="{118188AF-01AB-7A5C-0CFF-EA151285DD2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29" name="Graphic 4">
              <a:extLst>
                <a:ext uri="{FF2B5EF4-FFF2-40B4-BE49-F238E27FC236}">
                  <a16:creationId xmlns:a16="http://schemas.microsoft.com/office/drawing/2014/main" id="{76BB75C9-FF25-CDA9-7182-D7B5596F53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0" name="Graphic 11">
              <a:extLst>
                <a:ext uri="{FF2B5EF4-FFF2-40B4-BE49-F238E27FC236}">
                  <a16:creationId xmlns:a16="http://schemas.microsoft.com/office/drawing/2014/main" id="{02F8E165-C508-0100-8D5C-50B58A1C07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1" r:id="rId4"/>
    <p:sldLayoutId id="2147483661" r:id="rId5"/>
  </p:sldLayoutIdLst>
  <p:hf sldNum="0" hdr="0" ftr="0" dt="0"/>
  <p:txStyles>
    <p:titleStyle>
      <a:lvl1pPr algn="l" defTabSz="914388" rtl="0" eaLnBrk="1" latinLnBrk="0" hangingPunct="1"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0234" indent="-220234" algn="l" defTabSz="914388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428565" indent="-208331" algn="l" defTabSz="914388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857131" indent="-214284" algn="l" defTabSz="914388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5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600179" indent="-228597" algn="l" defTabSz="914388" rtl="0" eaLnBrk="1" latinLnBrk="0" hangingPunct="1">
        <a:spcBef>
          <a:spcPct val="20000"/>
        </a:spcBef>
        <a:buFont typeface="Arial" panose="020B0604020202020204" pitchFamily="34" charset="0"/>
        <a:buChar char="–"/>
        <a:defRPr sz="1594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057371" indent="-228597" algn="l" defTabSz="914388" rtl="0" eaLnBrk="1" latinLnBrk="0" hangingPunct="1">
        <a:spcBef>
          <a:spcPct val="20000"/>
        </a:spcBef>
        <a:buFont typeface="Arial" panose="020B0604020202020204" pitchFamily="34" charset="0"/>
        <a:buChar char="»"/>
        <a:defRPr sz="1594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514566" indent="-228597" algn="l" defTabSz="914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197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59" indent="-228597" algn="l" defTabSz="914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197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53" indent="-228597" algn="l" defTabSz="914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197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47" indent="-228597" algn="l" defTabSz="914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19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88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1pPr>
      <a:lvl2pPr marL="457194" algn="l" defTabSz="914388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2pPr>
      <a:lvl3pPr marL="914388" algn="l" defTabSz="914388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2" algn="l" defTabSz="914388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5" algn="l" defTabSz="914388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5pPr>
      <a:lvl6pPr marL="2285967" algn="l" defTabSz="914388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3" algn="l" defTabSz="914388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7pPr>
      <a:lvl8pPr marL="3200357" algn="l" defTabSz="914388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1" algn="l" defTabSz="914388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 userDrawn="1">
          <p15:clr>
            <a:srgbClr val="F26B43"/>
          </p15:clr>
        </p15:guide>
        <p15:guide id="6" orient="horz" pos="144" userDrawn="1">
          <p15:clr>
            <a:srgbClr val="F26B43"/>
          </p15:clr>
        </p15:guide>
        <p15:guide id="7" orient="horz" pos="1008" userDrawn="1">
          <p15:clr>
            <a:srgbClr val="F26B43"/>
          </p15:clr>
        </p15:guide>
        <p15:guide id="8" orient="horz" pos="1171" userDrawn="1">
          <p15:clr>
            <a:srgbClr val="F26B43"/>
          </p15:clr>
        </p15:guide>
        <p15:guide id="9" pos="432" userDrawn="1">
          <p15:clr>
            <a:srgbClr val="F26B43"/>
          </p15:clr>
        </p15:guide>
        <p15:guide id="10" pos="7104" userDrawn="1">
          <p15:clr>
            <a:srgbClr val="F26B43"/>
          </p15:clr>
        </p15:guide>
        <p15:guide id="12" orient="horz" pos="3716" userDrawn="1">
          <p15:clr>
            <a:srgbClr val="F26B43"/>
          </p15:clr>
        </p15:guide>
        <p15:guide id="14" orient="horz" pos="3645" userDrawn="1">
          <p15:clr>
            <a:srgbClr val="F26B43"/>
          </p15:clr>
        </p15:guide>
        <p15:guide id="15" orient="horz" pos="1485" userDrawn="1">
          <p15:clr>
            <a:srgbClr val="F26B43"/>
          </p15:clr>
        </p15:guide>
        <p15:guide id="16" pos="3648" userDrawn="1">
          <p15:clr>
            <a:srgbClr val="F26B43"/>
          </p15:clr>
        </p15:guide>
        <p15:guide id="17" pos="4032" userDrawn="1">
          <p15:clr>
            <a:srgbClr val="F26B43"/>
          </p15:clr>
        </p15:guide>
        <p15:guide id="18" orient="horz" pos="4320" userDrawn="1">
          <p15:clr>
            <a:srgbClr val="F26B43"/>
          </p15:clr>
        </p15:guide>
        <p15:guide id="19" orient="horz" pos="4084" userDrawn="1">
          <p15:clr>
            <a:srgbClr val="F26B43"/>
          </p15:clr>
        </p15:guide>
        <p15:guide id="20" orient="horz" pos="576" userDrawn="1">
          <p15:clr>
            <a:srgbClr val="F26B43"/>
          </p15:clr>
        </p15:guide>
        <p15:guide id="21" orient="horz" pos="3910" userDrawn="1">
          <p15:clr>
            <a:srgbClr val="F26B43"/>
          </p15:clr>
        </p15:guide>
        <p15:guide id="22" pos="144" userDrawn="1">
          <p15:clr>
            <a:srgbClr val="F26B43"/>
          </p15:clr>
        </p15:guide>
        <p15:guide id="23" pos="7536" userDrawn="1">
          <p15:clr>
            <a:srgbClr val="F26B43"/>
          </p15:clr>
        </p15:guide>
        <p15:guide id="24" pos="2496" userDrawn="1">
          <p15:clr>
            <a:srgbClr val="F26B43"/>
          </p15:clr>
        </p15:guide>
        <p15:guide id="25" pos="4800" userDrawn="1">
          <p15:clr>
            <a:srgbClr val="F26B43"/>
          </p15:clr>
        </p15:guide>
        <p15:guide id="26" pos="5184" userDrawn="1">
          <p15:clr>
            <a:srgbClr val="F26B43"/>
          </p15:clr>
        </p15:guide>
        <p15:guide id="27" pos="2880" userDrawn="1">
          <p15:clr>
            <a:srgbClr val="F26B43"/>
          </p15:clr>
        </p15:guide>
        <p15:guide id="28" pos="576" userDrawn="1">
          <p15:clr>
            <a:srgbClr val="F26B43"/>
          </p15:clr>
        </p15:guide>
        <p15:guide id="29" pos="72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9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5.png"/><Relationship Id="rId4" Type="http://schemas.microsoft.com/office/2018/10/relationships/comments" Target="../comments/modernComment_150_B8ABDBDC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9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8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2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8.bin"/><Relationship Id="rId4" Type="http://schemas.microsoft.com/office/2018/10/relationships/comments" Target="../comments/modernComment_152_A4F010F5.xml"/><Relationship Id="rId9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.bin"/><Relationship Id="rId4" Type="http://schemas.microsoft.com/office/2018/10/relationships/comments" Target="../comments/modernComment_156_2C8D986C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microsoft.com/office/2018/10/relationships/comments" Target="../comments/modernComment_154_589A85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F38BF67-C008-4A01-AB0C-422324EE69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0636421"/>
              </p:ext>
            </p:extLst>
          </p:nvPr>
        </p:nvGraphicFramePr>
        <p:xfrm>
          <a:off x="1524597" y="1936"/>
          <a:ext cx="1490" cy="1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F38BF67-C008-4A01-AB0C-422324EE69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597" y="1936"/>
                        <a:ext cx="1490" cy="1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3E1BF5F-09B6-437C-B25F-A3B49F77AA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3107" y="447"/>
            <a:ext cx="148809" cy="1488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563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3EC7C1B-FDF5-4B29-8020-F341F91D9D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2367378"/>
            <a:ext cx="10371394" cy="1034414"/>
          </a:xfrm>
        </p:spPr>
        <p:txBody>
          <a:bodyPr vert="horz"/>
          <a:lstStyle/>
          <a:p>
            <a:r>
              <a:rPr lang="en-US">
                <a:ea typeface="Roboto" panose="02000000000000000000" pitchFamily="2" charset="0"/>
              </a:rPr>
              <a:t>XB Donor Intelligence</a:t>
            </a:r>
            <a:endParaRPr lang="en-US" sz="3600">
              <a:ea typeface="Roboto" panose="02000000000000000000" pitchFamily="2" charset="0"/>
            </a:endParaRP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FBE890A-8F8B-445F-A55F-8E3CE23C26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3723672"/>
            <a:ext cx="8678593" cy="293760"/>
          </a:xfrm>
        </p:spPr>
        <p:txBody>
          <a:bodyPr/>
          <a:lstStyle/>
          <a:p>
            <a:r>
              <a:rPr lang="en-US" sz="1800">
                <a:latin typeface="Roboto" panose="02000000000000000000" pitchFamily="2" charset="0"/>
                <a:ea typeface="Roboto" panose="02000000000000000000" pitchFamily="2" charset="0"/>
              </a:rPr>
              <a:t>Summer 2025 Project Updat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B0F06D7-69E3-4EBF-86A4-C9F73C3B4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5801" y="4597537"/>
            <a:ext cx="8759826" cy="1188596"/>
          </a:xfrm>
        </p:spPr>
        <p:txBody>
          <a:bodyPr/>
          <a:lstStyle/>
          <a:p>
            <a:r>
              <a:rPr lang="en-US" sz="1400">
                <a:latin typeface="Roboto" panose="02000000000000000000" pitchFamily="2" charset="0"/>
                <a:ea typeface="Roboto" panose="02000000000000000000" pitchFamily="2" charset="0"/>
              </a:rPr>
              <a:t>Serena Yin</a:t>
            </a:r>
          </a:p>
          <a:p>
            <a:r>
              <a:rPr lang="en-US" sz="1400">
                <a:latin typeface="Roboto" panose="02000000000000000000" pitchFamily="2" charset="0"/>
                <a:ea typeface="Roboto" panose="02000000000000000000" pitchFamily="2" charset="0"/>
              </a:rPr>
              <a:t>OUSG - PAS</a:t>
            </a:r>
          </a:p>
          <a:p>
            <a:endParaRPr lang="en-US" sz="1400">
              <a:latin typeface="Roboto" panose="02000000000000000000" pitchFamily="2" charset="0"/>
              <a:ea typeface="Roboto" panose="02000000000000000000" pitchFamily="2" charset="0"/>
            </a:endParaRPr>
          </a:p>
          <a:p>
            <a:r>
              <a:rPr lang="en-US" sz="1400">
                <a:latin typeface="Roboto" panose="02000000000000000000" pitchFamily="2" charset="0"/>
                <a:ea typeface="Roboto" panose="02000000000000000000" pitchFamily="2" charset="0"/>
              </a:rPr>
              <a:t>Wednesday, July 23</a:t>
            </a:r>
            <a:r>
              <a:rPr lang="en-US" sz="1400" baseline="30000">
                <a:latin typeface="Roboto" panose="02000000000000000000" pitchFamily="2" charset="0"/>
                <a:ea typeface="Roboto" panose="02000000000000000000" pitchFamily="2" charset="0"/>
              </a:rPr>
              <a:t>rd</a:t>
            </a:r>
            <a:r>
              <a:rPr lang="en-US" sz="1400">
                <a:latin typeface="Roboto" panose="02000000000000000000" pitchFamily="2" charset="0"/>
                <a:ea typeface="Roboto" panose="02000000000000000000" pitchFamily="2" charset="0"/>
              </a:rPr>
              <a:t>, 2025</a:t>
            </a:r>
          </a:p>
        </p:txBody>
      </p:sp>
    </p:spTree>
    <p:extLst>
      <p:ext uri="{BB962C8B-B14F-4D97-AF65-F5344CB8AC3E}">
        <p14:creationId xmlns:p14="http://schemas.microsoft.com/office/powerpoint/2010/main" val="1963526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313386"/>
              </p:ext>
            </p:extLst>
          </p:nvPr>
        </p:nvGraphicFramePr>
        <p:xfrm>
          <a:off x="1524597" y="1936"/>
          <a:ext cx="1490" cy="1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597" y="1936"/>
                        <a:ext cx="1490" cy="1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3107" y="447"/>
            <a:ext cx="148809" cy="1488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5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798" y="804643"/>
            <a:ext cx="10675102" cy="803649"/>
          </a:xfrm>
        </p:spPr>
        <p:txBody>
          <a:bodyPr vert="horz"/>
          <a:lstStyle/>
          <a:p>
            <a:r>
              <a:rPr lang="en-US">
                <a:ea typeface="Roboto" panose="02000000000000000000" pitchFamily="2" charset="0"/>
              </a:rPr>
              <a:t>Problem Statement</a:t>
            </a:r>
            <a:br>
              <a:rPr lang="en-US">
                <a:solidFill>
                  <a:schemeClr val="bg2"/>
                </a:solidFill>
                <a:ea typeface="Roboto" panose="02000000000000000000" pitchFamily="2" charset="0"/>
              </a:rPr>
            </a:br>
            <a:r>
              <a:rPr lang="en-US" sz="16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imited Donor Intelligence Capabilities Hinder Strategic Engagement with Member States</a:t>
            </a:r>
            <a:endParaRPr lang="en-US" sz="16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09FAD4A-DE94-26B4-007B-120534122E6D}"/>
              </a:ext>
            </a:extLst>
          </p:cNvPr>
          <p:cNvSpPr/>
          <p:nvPr/>
        </p:nvSpPr>
        <p:spPr>
          <a:xfrm>
            <a:off x="685798" y="5998333"/>
            <a:ext cx="10820401" cy="107722"/>
          </a:xfrm>
          <a:prstGeom prst="rect">
            <a:avLst/>
          </a:prstGeom>
          <a:solidFill>
            <a:srgbClr val="009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endParaRPr lang="en-US" sz="100" b="1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B7E7D0-636E-4083-5326-944FD14E741D}"/>
              </a:ext>
            </a:extLst>
          </p:cNvPr>
          <p:cNvSpPr txBox="1"/>
          <p:nvPr/>
        </p:nvSpPr>
        <p:spPr>
          <a:xfrm>
            <a:off x="685798" y="2086100"/>
            <a:ext cx="10675102" cy="822960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How can we enhance donor intelligence capabilities to increase effectiveness of discussions with Member States, ultimately boosting XB funding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060003-C267-A414-71B5-C6AD5208AAF0}"/>
              </a:ext>
            </a:extLst>
          </p:cNvPr>
          <p:cNvSpPr txBox="1"/>
          <p:nvPr/>
        </p:nvSpPr>
        <p:spPr>
          <a:xfrm>
            <a:off x="685797" y="4547760"/>
            <a:ext cx="4993107" cy="82296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What intelligence would be valuable to know when discussing with Member States?</a:t>
            </a:r>
          </a:p>
        </p:txBody>
      </p:sp>
      <p:pic>
        <p:nvPicPr>
          <p:cNvPr id="13" name="Picture 12" descr="A grey arrows on a black background&#10;&#10;AI-generated content may be incorrect.">
            <a:extLst>
              <a:ext uri="{FF2B5EF4-FFF2-40B4-BE49-F238E27FC236}">
                <a16:creationId xmlns:a16="http://schemas.microsoft.com/office/drawing/2014/main" id="{EC638A30-4BFD-3CB5-5E6B-359CE43922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649085" y="2104147"/>
            <a:ext cx="893824" cy="324852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05B0CE4-9300-3D66-3097-1F633DB1BF16}"/>
              </a:ext>
            </a:extLst>
          </p:cNvPr>
          <p:cNvSpPr txBox="1"/>
          <p:nvPr/>
        </p:nvSpPr>
        <p:spPr>
          <a:xfrm>
            <a:off x="6513098" y="4547760"/>
            <a:ext cx="4847802" cy="82296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What tools are needed to effectively capture, visualize, and share donor intelligence?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9C97232-3791-C464-4E2F-2CBAD11709AD}"/>
              </a:ext>
            </a:extLst>
          </p:cNvPr>
          <p:cNvSpPr/>
          <p:nvPr/>
        </p:nvSpPr>
        <p:spPr>
          <a:xfrm>
            <a:off x="5153150" y="169004"/>
            <a:ext cx="1885705" cy="14285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algn="ctr"/>
            <a:r>
              <a:rPr lang="en-US" sz="844" b="1">
                <a:solidFill>
                  <a:srgbClr val="EA4425"/>
                </a:solidFill>
                <a:latin typeface="+mn-ea"/>
              </a:rPr>
              <a:t>DRAFT -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911084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372F39-2E48-2AEA-8510-6E834E639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321A1D7-7B9F-3128-20E8-69671BF440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597" y="1936"/>
          <a:ext cx="1490" cy="1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321A1D7-7B9F-3128-20E8-69671BF440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597" y="1936"/>
                        <a:ext cx="1490" cy="1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D0F6700-4F53-6821-34B5-3C3175D84FF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3107" y="447"/>
            <a:ext cx="148809" cy="1488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5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8B6127A-1D56-68E3-A9D0-B1A9B6619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804643"/>
            <a:ext cx="10675102" cy="905373"/>
          </a:xfrm>
        </p:spPr>
        <p:txBody>
          <a:bodyPr vert="horz"/>
          <a:lstStyle/>
          <a:p>
            <a:r>
              <a:rPr lang="en-US">
                <a:ea typeface="Roboto" panose="02000000000000000000" pitchFamily="2" charset="0"/>
              </a:rPr>
              <a:t>Methodology</a:t>
            </a:r>
            <a:br>
              <a:rPr lang="en-US">
                <a:solidFill>
                  <a:schemeClr val="bg2"/>
                </a:solidFill>
                <a:ea typeface="Roboto" panose="02000000000000000000" pitchFamily="2" charset="0"/>
              </a:rPr>
            </a:br>
            <a:r>
              <a:rPr lang="en-US" sz="16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hree Member States were selected as the initial focus group to validate results and findings derived from UN resolutions, news articles, speeches, and published foreign aid data</a:t>
            </a:r>
            <a:endParaRPr lang="en-US" sz="16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2131B99-8915-5253-E9DA-B376E7820FA0}"/>
              </a:ext>
            </a:extLst>
          </p:cNvPr>
          <p:cNvSpPr txBox="1"/>
          <p:nvPr/>
        </p:nvSpPr>
        <p:spPr>
          <a:xfrm>
            <a:off x="685799" y="6282265"/>
            <a:ext cx="10820401" cy="27728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28600" indent="-228600">
              <a:buAutoNum type="arabicPeriod"/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Focus group chosen based on existing internal expertise to validate results</a:t>
            </a:r>
          </a:p>
          <a:p>
            <a:pPr marL="228600" indent="-228600">
              <a:buAutoNum type="arabicPeriod"/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UN Resolutions sponsored and co-sponsored by Member States and Statements/Speeches made by Member States sourced from the UN Digital Library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Only select Member States’ Ministry of Foreign Affairs publish foreign aid data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7B9D0227-08FD-490E-9C6A-29F619D11327}"/>
              </a:ext>
            </a:extLst>
          </p:cNvPr>
          <p:cNvSpPr/>
          <p:nvPr/>
        </p:nvSpPr>
        <p:spPr bwMode="auto">
          <a:xfrm rot="5400000">
            <a:off x="3202382" y="4843635"/>
            <a:ext cx="1917398" cy="162669"/>
          </a:xfrm>
          <a:prstGeom prst="triangle">
            <a:avLst/>
          </a:prstGeom>
          <a:solidFill>
            <a:srgbClr val="00B0F0"/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err="1">
              <a:solidFill>
                <a:srgbClr val="FFFFFF"/>
              </a:solidFill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8CCF9F-F390-49D1-ABC6-14CA1E57A658}"/>
              </a:ext>
            </a:extLst>
          </p:cNvPr>
          <p:cNvGrpSpPr/>
          <p:nvPr/>
        </p:nvGrpSpPr>
        <p:grpSpPr>
          <a:xfrm>
            <a:off x="685798" y="3486412"/>
            <a:ext cx="3032924" cy="614932"/>
            <a:chOff x="8379335" y="3476041"/>
            <a:chExt cx="3032924" cy="61493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7A2932D-51EC-4F1C-9016-4367BC6BBE15}"/>
                </a:ext>
              </a:extLst>
            </p:cNvPr>
            <p:cNvSpPr/>
            <p:nvPr/>
          </p:nvSpPr>
          <p:spPr>
            <a:xfrm>
              <a:off x="8528608" y="3581109"/>
              <a:ext cx="2883651" cy="50986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400" b="1">
                  <a:solidFill>
                    <a:srgbClr val="00B0F0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UN Resolutions and Drafts</a:t>
              </a:r>
              <a:r>
                <a:rPr lang="en-GB" sz="1400" b="1" baseline="30000">
                  <a:solidFill>
                    <a:srgbClr val="00B0F0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2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3A51E45-5E4C-4296-BB28-D664E1479B78}"/>
                </a:ext>
              </a:extLst>
            </p:cNvPr>
            <p:cNvSpPr/>
            <p:nvPr/>
          </p:nvSpPr>
          <p:spPr>
            <a:xfrm>
              <a:off x="8379335" y="3476041"/>
              <a:ext cx="360000" cy="360000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400" b="1">
                  <a:latin typeface="Roboto" panose="02000000000000000000" pitchFamily="2" charset="0"/>
                  <a:ea typeface="Roboto" panose="02000000000000000000" pitchFamily="2" charset="0"/>
                </a:rPr>
                <a:t>1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F56847A-7248-4D72-B01C-1114752DCDD3}"/>
              </a:ext>
            </a:extLst>
          </p:cNvPr>
          <p:cNvGrpSpPr/>
          <p:nvPr/>
        </p:nvGrpSpPr>
        <p:grpSpPr>
          <a:xfrm>
            <a:off x="685798" y="4161147"/>
            <a:ext cx="3032924" cy="614932"/>
            <a:chOff x="8379335" y="4274414"/>
            <a:chExt cx="3032924" cy="614932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72EED24-66B2-480E-B433-CA8B9C9E3B2F}"/>
                </a:ext>
              </a:extLst>
            </p:cNvPr>
            <p:cNvSpPr/>
            <p:nvPr/>
          </p:nvSpPr>
          <p:spPr>
            <a:xfrm>
              <a:off x="8528608" y="4379482"/>
              <a:ext cx="2883651" cy="50986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400" b="1">
                  <a:solidFill>
                    <a:srgbClr val="00B0F0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Permanent Mission</a:t>
              </a:r>
            </a:p>
            <a:p>
              <a:pPr algn="ctr"/>
              <a:r>
                <a:rPr lang="en-GB" sz="1400" b="1">
                  <a:solidFill>
                    <a:srgbClr val="00B0F0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News Articles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7B7EC01-C77F-4A0C-9FF2-F90DD06F6AE6}"/>
                </a:ext>
              </a:extLst>
            </p:cNvPr>
            <p:cNvSpPr/>
            <p:nvPr/>
          </p:nvSpPr>
          <p:spPr>
            <a:xfrm>
              <a:off x="8379335" y="4274414"/>
              <a:ext cx="360000" cy="360000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400" b="1">
                  <a:latin typeface="Roboto" panose="02000000000000000000" pitchFamily="2" charset="0"/>
                  <a:ea typeface="Roboto" panose="02000000000000000000" pitchFamily="2" charset="0"/>
                </a:rPr>
                <a:t>2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1E6B832-440A-41BF-B4AD-1BCCF1E3DCFA}"/>
              </a:ext>
            </a:extLst>
          </p:cNvPr>
          <p:cNvGrpSpPr/>
          <p:nvPr/>
        </p:nvGrpSpPr>
        <p:grpSpPr>
          <a:xfrm>
            <a:off x="685798" y="4835882"/>
            <a:ext cx="3032924" cy="614932"/>
            <a:chOff x="8379335" y="5074029"/>
            <a:chExt cx="3032924" cy="61493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3DA835E-59D3-42B0-9ED8-A74C59C56077}"/>
                </a:ext>
              </a:extLst>
            </p:cNvPr>
            <p:cNvSpPr/>
            <p:nvPr/>
          </p:nvSpPr>
          <p:spPr>
            <a:xfrm>
              <a:off x="8528608" y="5179097"/>
              <a:ext cx="2883651" cy="50986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400" b="1">
                  <a:solidFill>
                    <a:srgbClr val="00B0F0"/>
                  </a:solidFill>
                  <a:latin typeface="Roboto"/>
                  <a:ea typeface="Roboto"/>
                </a:rPr>
                <a:t>GA and Security Council Statements</a:t>
              </a:r>
              <a:r>
                <a:rPr lang="en-GB" sz="1400" b="1" baseline="30000">
                  <a:solidFill>
                    <a:srgbClr val="00B0F0"/>
                  </a:solidFill>
                  <a:latin typeface="Roboto"/>
                  <a:ea typeface="Roboto"/>
                </a:rPr>
                <a:t>2</a:t>
              </a:r>
              <a:endParaRPr lang="en-GB" sz="1400" b="1">
                <a:solidFill>
                  <a:srgbClr val="00B0F0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733033B-5110-43E4-84AD-1CE76BA5D87A}"/>
                </a:ext>
              </a:extLst>
            </p:cNvPr>
            <p:cNvSpPr/>
            <p:nvPr/>
          </p:nvSpPr>
          <p:spPr>
            <a:xfrm>
              <a:off x="8379335" y="5074029"/>
              <a:ext cx="360000" cy="360000"/>
            </a:xfrm>
            <a:prstGeom prst="ellipse">
              <a:avLst/>
            </a:prstGeom>
            <a:solidFill>
              <a:srgbClr val="00B0F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400" b="1">
                  <a:latin typeface="Roboto" panose="02000000000000000000" pitchFamily="2" charset="0"/>
                  <a:ea typeface="Roboto" panose="02000000000000000000" pitchFamily="2" charset="0"/>
                </a:rPr>
                <a:t>3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4DAB9C2-1927-4409-95BF-844E8874E3A0}"/>
              </a:ext>
            </a:extLst>
          </p:cNvPr>
          <p:cNvGrpSpPr/>
          <p:nvPr/>
        </p:nvGrpSpPr>
        <p:grpSpPr>
          <a:xfrm>
            <a:off x="685798" y="5510617"/>
            <a:ext cx="3032924" cy="614932"/>
            <a:chOff x="8379335" y="5074029"/>
            <a:chExt cx="3032924" cy="61493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3598AE4-4BD4-43C6-8078-FB7DB5BB2FF8}"/>
                </a:ext>
              </a:extLst>
            </p:cNvPr>
            <p:cNvSpPr/>
            <p:nvPr/>
          </p:nvSpPr>
          <p:spPr>
            <a:xfrm>
              <a:off x="8528608" y="5179097"/>
              <a:ext cx="2883651" cy="50986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B0F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600" b="1" err="1">
                  <a:solidFill>
                    <a:srgbClr val="00B0F0"/>
                  </a:solidFill>
                  <a:latin typeface="Roboto"/>
                  <a:ea typeface="Roboto"/>
                </a:rPr>
                <a:t>MoFA</a:t>
              </a:r>
              <a:r>
                <a:rPr lang="en-GB" sz="1600" b="1">
                  <a:solidFill>
                    <a:srgbClr val="00B0F0"/>
                  </a:solidFill>
                  <a:latin typeface="Roboto"/>
                  <a:ea typeface="Roboto"/>
                </a:rPr>
                <a:t> Foreign Aid Data</a:t>
              </a:r>
              <a:r>
                <a:rPr lang="en-GB" sz="1600" b="1" baseline="30000">
                  <a:solidFill>
                    <a:srgbClr val="00B0F0"/>
                  </a:solidFill>
                  <a:latin typeface="Roboto"/>
                  <a:ea typeface="Roboto"/>
                </a:rPr>
                <a:t>3</a:t>
              </a:r>
              <a:endParaRPr lang="en-GB" sz="1600" b="1" baseline="30000">
                <a:solidFill>
                  <a:srgbClr val="00B0F0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DB8DBE5-BB26-4D4C-9970-39B5558B3450}"/>
                </a:ext>
              </a:extLst>
            </p:cNvPr>
            <p:cNvSpPr/>
            <p:nvPr/>
          </p:nvSpPr>
          <p:spPr>
            <a:xfrm>
              <a:off x="8379335" y="5074029"/>
              <a:ext cx="360000" cy="36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400" b="1">
                  <a:solidFill>
                    <a:schemeClr val="tx1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4</a:t>
              </a: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912B00AA-8086-442B-B8F0-B0D21B02D38C}"/>
              </a:ext>
            </a:extLst>
          </p:cNvPr>
          <p:cNvSpPr/>
          <p:nvPr/>
        </p:nvSpPr>
        <p:spPr>
          <a:xfrm>
            <a:off x="685798" y="1762453"/>
            <a:ext cx="11301360" cy="125664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2000" b="1" i="0" u="none" strike="noStrike">
                <a:solidFill>
                  <a:srgbClr val="000000"/>
                </a:solidFill>
                <a:effectLst/>
                <a:latin typeface="Roboto Condensed" panose="02000000000000000000" pitchFamily="2" charset="0"/>
              </a:rPr>
              <a:t>Member States Focus Group</a:t>
            </a:r>
            <a:r>
              <a:rPr lang="en-ZA" sz="2000" b="1" i="0" u="none" strike="noStrike" baseline="30000">
                <a:solidFill>
                  <a:srgbClr val="000000"/>
                </a:solidFill>
                <a:effectLst/>
                <a:latin typeface="Roboto Condensed" panose="02000000000000000000" pitchFamily="2" charset="0"/>
              </a:rPr>
              <a:t>1</a:t>
            </a:r>
            <a:endParaRPr lang="en-ZA" sz="2000" b="1" i="0" u="none" strike="noStrike" kern="1200" cap="none" spc="0" normalizeH="0" baseline="3000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oboto Condensed"/>
              <a:ea typeface="Roboto Condensed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F5025D6-F4F9-49AB-9189-9F1BCE268E03}"/>
              </a:ext>
            </a:extLst>
          </p:cNvPr>
          <p:cNvSpPr/>
          <p:nvPr/>
        </p:nvSpPr>
        <p:spPr>
          <a:xfrm>
            <a:off x="689823" y="3124826"/>
            <a:ext cx="11300400" cy="279617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ZA" sz="1100" b="1">
                <a:latin typeface="Roboto Condensed"/>
                <a:ea typeface="Roboto Condensed"/>
              </a:rPr>
              <a:t>Donor Intelligence Collection Process</a:t>
            </a:r>
            <a:endParaRPr kumimoji="0" lang="en-ZA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Roboto Condensed"/>
              <a:ea typeface="Roboto Condensed"/>
              <a:cs typeface="+mn-cs"/>
            </a:endParaRPr>
          </a:p>
        </p:txBody>
      </p:sp>
      <p:pic>
        <p:nvPicPr>
          <p:cNvPr id="1026" name="Picture 2" descr="Canada - Wikipedia">
            <a:extLst>
              <a:ext uri="{FF2B5EF4-FFF2-40B4-BE49-F238E27FC236}">
                <a16:creationId xmlns:a16="http://schemas.microsoft.com/office/drawing/2014/main" id="{592E5AF6-3855-8BA4-6E3C-4941B15B6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2147" y="2150503"/>
            <a:ext cx="1265463" cy="632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5AE17B6-D98C-1101-3FF0-948CEC16F94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03746" y="2150503"/>
            <a:ext cx="1265463" cy="63273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2E3E041-77F7-0EE8-B00B-64D54A09B932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1087" r="10341"/>
          <a:stretch>
            <a:fillRect/>
          </a:stretch>
        </p:blipFill>
        <p:spPr>
          <a:xfrm>
            <a:off x="9155345" y="2137687"/>
            <a:ext cx="1265463" cy="63273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03D8087F-6FFD-1C45-7680-D146B7E7ED3A}"/>
              </a:ext>
            </a:extLst>
          </p:cNvPr>
          <p:cNvSpPr txBox="1"/>
          <p:nvPr/>
        </p:nvSpPr>
        <p:spPr>
          <a:xfrm>
            <a:off x="2393044" y="2786514"/>
            <a:ext cx="98366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ZA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/>
                <a:ea typeface="Roboto Condensed"/>
                <a:cs typeface="+mn-cs"/>
              </a:rPr>
              <a:t>Canada</a:t>
            </a:r>
            <a:endParaRPr lang="en-US" sz="1100" b="1">
              <a:solidFill>
                <a:srgbClr val="00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DCCB70C-7D85-EE88-270D-942D45643592}"/>
              </a:ext>
            </a:extLst>
          </p:cNvPr>
          <p:cNvSpPr txBox="1"/>
          <p:nvPr/>
        </p:nvSpPr>
        <p:spPr>
          <a:xfrm>
            <a:off x="5653490" y="2783235"/>
            <a:ext cx="136597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ZA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/>
                <a:ea typeface="Roboto Condensed"/>
                <a:cs typeface="+mn-cs"/>
              </a:rPr>
              <a:t>United Arab Emirates</a:t>
            </a:r>
            <a:endParaRPr lang="en-US" sz="1100" b="1">
              <a:solidFill>
                <a:srgbClr val="000000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B254455-2420-7B8D-B2E4-BFA990C3DDBE}"/>
              </a:ext>
            </a:extLst>
          </p:cNvPr>
          <p:cNvSpPr txBox="1"/>
          <p:nvPr/>
        </p:nvSpPr>
        <p:spPr>
          <a:xfrm>
            <a:off x="9296242" y="2783235"/>
            <a:ext cx="98366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ZA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"/>
                <a:ea typeface="Roboto Condensed"/>
                <a:cs typeface="+mn-cs"/>
              </a:rPr>
              <a:t>Qatar</a:t>
            </a:r>
            <a:endParaRPr lang="en-US" sz="1100" b="1">
              <a:solidFill>
                <a:srgbClr val="000000"/>
              </a:solidFill>
            </a:endParaRPr>
          </a:p>
        </p:txBody>
      </p:sp>
      <p:pic>
        <p:nvPicPr>
          <p:cNvPr id="1032" name="Picture 8" descr="Microsoft Copilot | Your AI assistant at work">
            <a:extLst>
              <a:ext uri="{FF2B5EF4-FFF2-40B4-BE49-F238E27FC236}">
                <a16:creationId xmlns:a16="http://schemas.microsoft.com/office/drawing/2014/main" id="{FA57F416-108B-5063-F356-5395D081E8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3918" y="3759922"/>
            <a:ext cx="3007895" cy="1099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8D9F63D8-BA8E-BBFA-E7F9-BDB055C34967}"/>
              </a:ext>
            </a:extLst>
          </p:cNvPr>
          <p:cNvSpPr txBox="1"/>
          <p:nvPr/>
        </p:nvSpPr>
        <p:spPr>
          <a:xfrm>
            <a:off x="4575035" y="5037858"/>
            <a:ext cx="3405662" cy="830997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bg2"/>
                </a:solidFill>
              </a:rPr>
              <a:t>Utilize AI to categorize and identify key themes and social issues mentioned in qualitative data</a:t>
            </a:r>
          </a:p>
        </p:txBody>
      </p:sp>
      <p:pic>
        <p:nvPicPr>
          <p:cNvPr id="1036" name="Picture 12" descr="Exciting Power BI Announcements from Microsoft's Data Insights Summit">
            <a:extLst>
              <a:ext uri="{FF2B5EF4-FFF2-40B4-BE49-F238E27FC236}">
                <a16:creationId xmlns:a16="http://schemas.microsoft.com/office/drawing/2014/main" id="{EBF075C0-2D34-0162-092F-492772BCED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9565" y="3719704"/>
            <a:ext cx="3167593" cy="800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Isosceles Triangle 33">
            <a:extLst>
              <a:ext uri="{FF2B5EF4-FFF2-40B4-BE49-F238E27FC236}">
                <a16:creationId xmlns:a16="http://schemas.microsoft.com/office/drawing/2014/main" id="{1562F13C-70A4-9869-FDB4-A690D8CB9E6C}"/>
              </a:ext>
            </a:extLst>
          </p:cNvPr>
          <p:cNvSpPr/>
          <p:nvPr/>
        </p:nvSpPr>
        <p:spPr bwMode="auto">
          <a:xfrm rot="5400000">
            <a:off x="7596989" y="4843635"/>
            <a:ext cx="1917398" cy="162669"/>
          </a:xfrm>
          <a:prstGeom prst="triangle">
            <a:avLst/>
          </a:prstGeom>
          <a:solidFill>
            <a:srgbClr val="00B0F0"/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err="1">
              <a:solidFill>
                <a:srgbClr val="FFFFFF"/>
              </a:solidFill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D632D68-92E1-DEDD-6C66-170D63C824EF}"/>
              </a:ext>
            </a:extLst>
          </p:cNvPr>
          <p:cNvSpPr/>
          <p:nvPr/>
        </p:nvSpPr>
        <p:spPr>
          <a:xfrm>
            <a:off x="5153150" y="169004"/>
            <a:ext cx="1885705" cy="14285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algn="ctr"/>
            <a:r>
              <a:rPr lang="en-US" sz="844" b="1">
                <a:solidFill>
                  <a:srgbClr val="EA4425"/>
                </a:solidFill>
                <a:latin typeface="+mn-ea"/>
              </a:rPr>
              <a:t>DRAFT - FOR INTERNAL USE ONL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9197471-9846-BEDE-52A1-72CF1E9624E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16654" y="4519851"/>
            <a:ext cx="3170504" cy="2056119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9827068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819094-4BF3-A1A9-FC8B-BB3379B283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63CB5AD-E327-3BC4-272B-56A220A2A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597" y="1936"/>
          <a:ext cx="1490" cy="1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63CB5AD-E327-3BC4-272B-56A220A2A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597" y="1936"/>
                        <a:ext cx="1490" cy="1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7AC2939-8144-F981-B0AD-2441CD29C0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3107" y="447"/>
            <a:ext cx="148809" cy="1488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5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1B5A256-C6B5-13E3-BB6A-A4681DFE9B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804643"/>
            <a:ext cx="10675102" cy="803649"/>
          </a:xfrm>
        </p:spPr>
        <p:txBody>
          <a:bodyPr vert="horz"/>
          <a:lstStyle/>
          <a:p>
            <a:r>
              <a:rPr lang="en-US">
                <a:ea typeface="Roboto" panose="02000000000000000000" pitchFamily="2" charset="0"/>
              </a:rPr>
              <a:t>Results</a:t>
            </a:r>
            <a:br>
              <a:rPr lang="en-US">
                <a:solidFill>
                  <a:schemeClr val="bg2"/>
                </a:solidFill>
                <a:ea typeface="Roboto" panose="02000000000000000000" pitchFamily="2" charset="0"/>
              </a:rPr>
            </a:br>
            <a:r>
              <a:rPr lang="en-US" sz="16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eport for Canada accurately identifies Women’s Rights/ Gender Equality as a donor priority</a:t>
            </a:r>
            <a:r>
              <a:rPr lang="en-US" sz="1600" baseline="30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</a:t>
            </a:r>
            <a:endParaRPr lang="en-US" sz="16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4A115CC-1CD8-E322-F665-33F45D8A3F23}"/>
              </a:ext>
            </a:extLst>
          </p:cNvPr>
          <p:cNvSpPr/>
          <p:nvPr/>
        </p:nvSpPr>
        <p:spPr>
          <a:xfrm>
            <a:off x="5153150" y="169004"/>
            <a:ext cx="1885705" cy="14285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algn="ctr"/>
            <a:r>
              <a:rPr lang="en-US" sz="844" b="1">
                <a:solidFill>
                  <a:srgbClr val="EA4425"/>
                </a:solidFill>
                <a:latin typeface="+mn-ea"/>
              </a:rPr>
              <a:t>DRAFT - FOR INTERNAL USE ONL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943BDC-64B2-394D-9B0E-B6B4FD65C4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5799" y="1676400"/>
            <a:ext cx="7048502" cy="45710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6E30A3B-0333-B521-F849-48B4E428D21E}"/>
              </a:ext>
            </a:extLst>
          </p:cNvPr>
          <p:cNvSpPr txBox="1"/>
          <p:nvPr/>
        </p:nvSpPr>
        <p:spPr>
          <a:xfrm>
            <a:off x="685799" y="6359486"/>
            <a:ext cx="10820401" cy="27728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28600" indent="-228600">
              <a:buAutoNum type="arabicPeriod"/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Determined based on pre-existing understanding and internal expertise on Canada’s funding priorities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E6819FEB-EE54-48A5-6A64-320EC4E46991}"/>
              </a:ext>
            </a:extLst>
          </p:cNvPr>
          <p:cNvSpPr txBox="1">
            <a:spLocks/>
          </p:cNvSpPr>
          <p:nvPr/>
        </p:nvSpPr>
        <p:spPr>
          <a:xfrm>
            <a:off x="8114782" y="2230558"/>
            <a:ext cx="3246120" cy="3455339"/>
          </a:xfrm>
          <a:prstGeom prst="rect">
            <a:avLst/>
          </a:prstGeom>
        </p:spPr>
        <p:txBody>
          <a:bodyPr vert="horz" lIns="0" tIns="91440" rIns="0" bIns="0" rtlCol="0">
            <a:noAutofit/>
          </a:bodyPr>
          <a:lstStyle>
            <a:lvl1pPr marL="128570" indent="-128570" algn="l" defTabSz="914388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312" b="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57138" indent="-171426" algn="l" defTabSz="914388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sz="1312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8563" indent="-162855" algn="l" defTabSz="914388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125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179" indent="-228597" algn="l" defTabSz="9143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19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371" indent="-228597" algn="l" defTabSz="9143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219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566" indent="-228597" algn="l" defTabSz="9143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59" indent="-228597" algn="l" defTabSz="9143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3" indent="-228597" algn="l" defTabSz="9143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47" indent="-228597" algn="l" defTabSz="9143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Top DAC Sector is “Women’s Rights Organisations and Movements and Government Institutions”</a:t>
            </a:r>
          </a:p>
          <a:p>
            <a:pPr lvl="2"/>
            <a:r>
              <a:rPr lang="en-US" sz="1013"/>
              <a:t>DAC Sectors are given by the original data source </a:t>
            </a:r>
          </a:p>
          <a:p>
            <a:pPr marL="85712" lvl="1" indent="0">
              <a:buNone/>
            </a:pPr>
            <a:endParaRPr lang="en-US" sz="1400"/>
          </a:p>
          <a:p>
            <a:r>
              <a:rPr lang="en-US" sz="1400"/>
              <a:t>“Women” and “Gender” are the top keywords/topics as seen in the word cloud visualizations</a:t>
            </a:r>
          </a:p>
          <a:p>
            <a:pPr lvl="2"/>
            <a:r>
              <a:rPr lang="en-US" sz="1013"/>
              <a:t>Word clouds visualize keyword frequency and the top 3 LDA topics from project descriptions</a:t>
            </a:r>
          </a:p>
          <a:p>
            <a:endParaRPr lang="en-US" sz="14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F5D3136-079D-D13E-5796-7C9F16482572}"/>
              </a:ext>
            </a:extLst>
          </p:cNvPr>
          <p:cNvSpPr txBox="1"/>
          <p:nvPr/>
        </p:nvSpPr>
        <p:spPr>
          <a:xfrm>
            <a:off x="8114782" y="1676400"/>
            <a:ext cx="3246120" cy="473145"/>
          </a:xfrm>
          <a:prstGeom prst="rect">
            <a:avLst/>
          </a:prstGeom>
          <a:noFill/>
        </p:spPr>
        <p:txBody>
          <a:bodyPr wrap="square" lIns="0" tIns="0" rIns="0" bIns="42857" rtlCol="0" anchor="b" anchorCtr="0">
            <a:noAutofit/>
          </a:bodyPr>
          <a:lstStyle/>
          <a:p>
            <a:r>
              <a:rPr lang="en-US" sz="1400" b="1"/>
              <a:t>Key Finding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1AC4628-DFC7-8C1D-DCB4-2BCC2BE61E04}"/>
              </a:ext>
            </a:extLst>
          </p:cNvPr>
          <p:cNvCxnSpPr>
            <a:cxnSpLocks/>
          </p:cNvCxnSpPr>
          <p:nvPr/>
        </p:nvCxnSpPr>
        <p:spPr bwMode="auto">
          <a:xfrm>
            <a:off x="8114782" y="2213695"/>
            <a:ext cx="3246120" cy="0"/>
          </a:xfrm>
          <a:prstGeom prst="line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878945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CEEDE9-F0FC-3AB4-EBDE-068CE061EA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DBF83A6-87BA-9D1B-C6DE-F12720B030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597" y="1936"/>
          <a:ext cx="1490" cy="1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DBF83A6-87BA-9D1B-C6DE-F12720B030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597" y="1936"/>
                        <a:ext cx="1490" cy="1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8A70744-2A2D-BE40-A934-CB6A49FF7A3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3107" y="447"/>
            <a:ext cx="148809" cy="1488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5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1010FF4-BB51-A39E-7532-67FFF48EE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908651"/>
            <a:ext cx="10675102" cy="803649"/>
          </a:xfrm>
        </p:spPr>
        <p:txBody>
          <a:bodyPr vert="horz"/>
          <a:lstStyle/>
          <a:p>
            <a:r>
              <a:rPr lang="en-US">
                <a:ea typeface="Roboto" panose="02000000000000000000" pitchFamily="2" charset="0"/>
              </a:rPr>
              <a:t>Results</a:t>
            </a:r>
            <a:br>
              <a:rPr lang="en-US">
                <a:solidFill>
                  <a:schemeClr val="bg2"/>
                </a:solidFill>
                <a:ea typeface="Roboto" panose="02000000000000000000" pitchFamily="2" charset="0"/>
              </a:rPr>
            </a:br>
            <a:r>
              <a:rPr lang="en-US" sz="16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espite prioritizing Hate Speech</a:t>
            </a:r>
            <a:r>
              <a:rPr lang="en-US" sz="1600" baseline="30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</a:t>
            </a:r>
            <a:r>
              <a:rPr lang="en-US" sz="16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, the UAE has published limited news/statements on the topic, indicating potential bias in data sources</a:t>
            </a:r>
            <a:endParaRPr lang="en-US" sz="16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E2E7F4-D236-343F-967E-80D3AC4E5A73}"/>
              </a:ext>
            </a:extLst>
          </p:cNvPr>
          <p:cNvSpPr/>
          <p:nvPr/>
        </p:nvSpPr>
        <p:spPr>
          <a:xfrm>
            <a:off x="5153150" y="169004"/>
            <a:ext cx="1885705" cy="14285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algn="ctr"/>
            <a:r>
              <a:rPr lang="en-US" sz="844" b="1">
                <a:solidFill>
                  <a:srgbClr val="EA4425"/>
                </a:solidFill>
                <a:latin typeface="+mn-ea"/>
              </a:rPr>
              <a:t>DRAFT - FOR INTERNAL USE ONL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E51D38-B1BB-609F-C816-6A60F9CF3B18}"/>
              </a:ext>
            </a:extLst>
          </p:cNvPr>
          <p:cNvSpPr txBox="1"/>
          <p:nvPr/>
        </p:nvSpPr>
        <p:spPr>
          <a:xfrm>
            <a:off x="685799" y="6530010"/>
            <a:ext cx="10820401" cy="27728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28600" indent="-228600">
              <a:buAutoNum type="arabicPeriod"/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Determined based on pre-existing understanding and internal expertise on UAE’s funding priorities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E6630EC3-F14B-0A2E-4ED7-A75FD2D2156C}"/>
              </a:ext>
            </a:extLst>
          </p:cNvPr>
          <p:cNvSpPr txBox="1">
            <a:spLocks/>
          </p:cNvSpPr>
          <p:nvPr/>
        </p:nvSpPr>
        <p:spPr>
          <a:xfrm>
            <a:off x="8114782" y="2373434"/>
            <a:ext cx="3246120" cy="2660890"/>
          </a:xfrm>
          <a:prstGeom prst="rect">
            <a:avLst/>
          </a:prstGeom>
        </p:spPr>
        <p:txBody>
          <a:bodyPr vert="horz" lIns="0" tIns="91440" rIns="0" bIns="0" rtlCol="0">
            <a:noAutofit/>
          </a:bodyPr>
          <a:lstStyle>
            <a:lvl1pPr marL="128570" indent="-128570" algn="l" defTabSz="914388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312" b="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57138" indent="-171426" algn="l" defTabSz="914388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sz="1312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8563" indent="-162855" algn="l" defTabSz="914388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125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179" indent="-228597" algn="l" defTabSz="9143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19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371" indent="-228597" algn="l" defTabSz="9143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219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566" indent="-228597" algn="l" defTabSz="9143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59" indent="-228597" algn="l" defTabSz="9143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53" indent="-228597" algn="l" defTabSz="9143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47" indent="-228597" algn="l" defTabSz="9143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Only 1 of 44 news articles on UAE’s Permanent Mission website focuses on Hate Speech</a:t>
            </a:r>
          </a:p>
          <a:p>
            <a:endParaRPr lang="en-US" sz="1400"/>
          </a:p>
          <a:p>
            <a:r>
              <a:rPr lang="en-US" sz="1400"/>
              <a:t>Only 6 of 639 statements/ speeches focus on Hate Speech</a:t>
            </a:r>
          </a:p>
          <a:p>
            <a:endParaRPr lang="en-US" sz="1400"/>
          </a:p>
          <a:p>
            <a:r>
              <a:rPr lang="en-US" sz="1400"/>
              <a:t>UAE has only sponsored/co-sponsored 2 UN Resolutions focused on Hate Speech</a:t>
            </a:r>
            <a:endParaRPr lang="en-US" sz="1013"/>
          </a:p>
          <a:p>
            <a:endParaRPr lang="en-US" sz="14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BAE3999-C4FE-89A7-FB68-7450DE5F3DFC}"/>
              </a:ext>
            </a:extLst>
          </p:cNvPr>
          <p:cNvSpPr txBox="1"/>
          <p:nvPr/>
        </p:nvSpPr>
        <p:spPr>
          <a:xfrm>
            <a:off x="8114782" y="1819275"/>
            <a:ext cx="3246120" cy="473145"/>
          </a:xfrm>
          <a:prstGeom prst="rect">
            <a:avLst/>
          </a:prstGeom>
          <a:noFill/>
        </p:spPr>
        <p:txBody>
          <a:bodyPr wrap="square" lIns="0" tIns="0" rIns="0" bIns="42857" rtlCol="0" anchor="b" anchorCtr="0">
            <a:noAutofit/>
          </a:bodyPr>
          <a:lstStyle/>
          <a:p>
            <a:r>
              <a:rPr lang="en-US" sz="1400" b="1"/>
              <a:t>Key Finding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10B77DB-ECAB-D7E9-5AC0-131041478A9F}"/>
              </a:ext>
            </a:extLst>
          </p:cNvPr>
          <p:cNvCxnSpPr>
            <a:cxnSpLocks/>
          </p:cNvCxnSpPr>
          <p:nvPr/>
        </p:nvCxnSpPr>
        <p:spPr bwMode="auto">
          <a:xfrm>
            <a:off x="8114782" y="2356570"/>
            <a:ext cx="3246120" cy="0"/>
          </a:xfrm>
          <a:prstGeom prst="line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67E951E-DF96-A22D-8414-752034BFDEE0}"/>
              </a:ext>
            </a:extLst>
          </p:cNvPr>
          <p:cNvGrpSpPr/>
          <p:nvPr/>
        </p:nvGrpSpPr>
        <p:grpSpPr>
          <a:xfrm>
            <a:off x="685799" y="1819274"/>
            <a:ext cx="4514339" cy="2873723"/>
            <a:chOff x="685799" y="1676399"/>
            <a:chExt cx="7144951" cy="454831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3C97F70-8131-4F3B-D10C-C9E1C8429DF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r="12975"/>
            <a:stretch>
              <a:fillRect/>
            </a:stretch>
          </p:blipFill>
          <p:spPr>
            <a:xfrm>
              <a:off x="685800" y="1676399"/>
              <a:ext cx="7144950" cy="2660889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45ACEDF8-FD85-01E0-6BCA-21792663D33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40377" y="1890348"/>
              <a:ext cx="1058956" cy="596650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2DB0419-C105-6D96-4BBA-04E8B04E4AC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85799" y="4337288"/>
              <a:ext cx="7144950" cy="1887421"/>
            </a:xfrm>
            <a:prstGeom prst="rect">
              <a:avLst/>
            </a:prstGeom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F159808F-E35A-C439-484E-3AF3C3B5D71B}"/>
              </a:ext>
            </a:extLst>
          </p:cNvPr>
          <p:cNvSpPr/>
          <p:nvPr/>
        </p:nvSpPr>
        <p:spPr>
          <a:xfrm>
            <a:off x="8114782" y="5309410"/>
            <a:ext cx="3391417" cy="1058175"/>
          </a:xfrm>
          <a:prstGeom prst="rect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>
                <a:solidFill>
                  <a:schemeClr val="tx1"/>
                </a:solidFill>
              </a:rPr>
              <a:t>XB Donor Intelligence Tool may be biased due to potential discrepancies between information being published by Member States and their donor prioriti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AEBB6DF-2426-086C-D37B-B687125913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42968" y="3147650"/>
            <a:ext cx="4827070" cy="309069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057947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8DD94D-9451-C47A-9B22-61C46D6CC0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B57AE3B-2EBE-0924-FDDE-F4F9434E53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597" y="1936"/>
          <a:ext cx="1490" cy="1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B57AE3B-2EBE-0924-FDDE-F4F9434E53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597" y="1936"/>
                        <a:ext cx="1490" cy="1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2FAEDE0-CC3E-99C1-9757-3DC44FD3E6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3107" y="447"/>
            <a:ext cx="148809" cy="1488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5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ECF0A56-376A-CCB4-3C7C-946B9D345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804643"/>
            <a:ext cx="10675102" cy="803649"/>
          </a:xfrm>
        </p:spPr>
        <p:txBody>
          <a:bodyPr vert="horz"/>
          <a:lstStyle/>
          <a:p>
            <a:r>
              <a:rPr lang="en-US">
                <a:ea typeface="Roboto" panose="02000000000000000000" pitchFamily="2" charset="0"/>
              </a:rPr>
              <a:t>Important Limitations</a:t>
            </a:r>
            <a:br>
              <a:rPr lang="en-US">
                <a:solidFill>
                  <a:schemeClr val="bg2"/>
                </a:solidFill>
                <a:ea typeface="Roboto" panose="02000000000000000000" pitchFamily="2" charset="0"/>
              </a:rPr>
            </a:br>
            <a:r>
              <a:rPr lang="en-US" sz="16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imited and outdated external data undermine accurate understanding of donor priorities</a:t>
            </a:r>
            <a:endParaRPr lang="en-US" sz="160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6" name="Google Shape;415;p21">
            <a:extLst>
              <a:ext uri="{FF2B5EF4-FFF2-40B4-BE49-F238E27FC236}">
                <a16:creationId xmlns:a16="http://schemas.microsoft.com/office/drawing/2014/main" id="{4C91B130-2A92-C048-E09D-35E4896349F4}"/>
              </a:ext>
            </a:extLst>
          </p:cNvPr>
          <p:cNvGrpSpPr/>
          <p:nvPr/>
        </p:nvGrpSpPr>
        <p:grpSpPr>
          <a:xfrm>
            <a:off x="685794" y="2047548"/>
            <a:ext cx="3417730" cy="3467288"/>
            <a:chOff x="710272" y="412618"/>
            <a:chExt cx="1846803" cy="4012144"/>
          </a:xfrm>
        </p:grpSpPr>
        <p:sp>
          <p:nvSpPr>
            <p:cNvPr id="15" name="Google Shape;416;p21">
              <a:extLst>
                <a:ext uri="{FF2B5EF4-FFF2-40B4-BE49-F238E27FC236}">
                  <a16:creationId xmlns:a16="http://schemas.microsoft.com/office/drawing/2014/main" id="{35C22848-CDF1-AD23-C1B0-6E14D61AD276}"/>
                </a:ext>
              </a:extLst>
            </p:cNvPr>
            <p:cNvSpPr/>
            <p:nvPr/>
          </p:nvSpPr>
          <p:spPr>
            <a:xfrm rot="10800000" flipH="1">
              <a:off x="710275" y="1161896"/>
              <a:ext cx="1846800" cy="3262866"/>
            </a:xfrm>
            <a:prstGeom prst="round2SameRect">
              <a:avLst>
                <a:gd name="adj1" fmla="val 5874"/>
                <a:gd name="adj2" fmla="val 0"/>
              </a:avLst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en-US"/>
              </a:defPPr>
              <a:lvl1pPr marL="0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7741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5482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63223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50964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38705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26446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14187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01928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6" name="Google Shape;417;p21">
              <a:extLst>
                <a:ext uri="{FF2B5EF4-FFF2-40B4-BE49-F238E27FC236}">
                  <a16:creationId xmlns:a16="http://schemas.microsoft.com/office/drawing/2014/main" id="{92EB47C8-B368-F511-8CB2-0C12F6E5F45C}"/>
                </a:ext>
              </a:extLst>
            </p:cNvPr>
            <p:cNvSpPr txBox="1"/>
            <p:nvPr/>
          </p:nvSpPr>
          <p:spPr>
            <a:xfrm>
              <a:off x="792625" y="3045638"/>
              <a:ext cx="1682100" cy="42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en-US"/>
              </a:defPPr>
              <a:lvl1pPr marL="0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7741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5482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63223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50964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38705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26446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14187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01928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0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17" name="Google Shape;418;p21">
              <a:extLst>
                <a:ext uri="{FF2B5EF4-FFF2-40B4-BE49-F238E27FC236}">
                  <a16:creationId xmlns:a16="http://schemas.microsoft.com/office/drawing/2014/main" id="{4AAAD899-7B46-8FF8-4883-30AD60026C8E}"/>
                </a:ext>
              </a:extLst>
            </p:cNvPr>
            <p:cNvSpPr txBox="1"/>
            <p:nvPr/>
          </p:nvSpPr>
          <p:spPr>
            <a:xfrm>
              <a:off x="792622" y="2519435"/>
              <a:ext cx="1682100" cy="12912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>
              <a:defPPr>
                <a:defRPr lang="en-US"/>
              </a:defPPr>
              <a:lvl1pPr marL="0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7741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5482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63223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50964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38705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26446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14187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01928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r>
                <a:rPr lang="en-US" sz="1600">
                  <a:solidFill>
                    <a:schemeClr val="accent5">
                      <a:lumMod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/>
                  <a:sym typeface="Roboto"/>
                </a:rPr>
                <a:t>For Member States where internal knowledge and engagement are limited, external data sources also tend to be limited</a:t>
              </a:r>
              <a:endParaRPr sz="1600">
                <a:solidFill>
                  <a:schemeClr val="accent5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/>
                <a:sym typeface="Roboto"/>
              </a:endParaRPr>
            </a:p>
          </p:txBody>
        </p:sp>
        <p:sp>
          <p:nvSpPr>
            <p:cNvPr id="18" name="Google Shape;419;p21">
              <a:extLst>
                <a:ext uri="{FF2B5EF4-FFF2-40B4-BE49-F238E27FC236}">
                  <a16:creationId xmlns:a16="http://schemas.microsoft.com/office/drawing/2014/main" id="{AAD8B17D-91C7-9963-70DD-F1E4B953AFB4}"/>
                </a:ext>
              </a:extLst>
            </p:cNvPr>
            <p:cNvSpPr/>
            <p:nvPr/>
          </p:nvSpPr>
          <p:spPr>
            <a:xfrm>
              <a:off x="710272" y="412618"/>
              <a:ext cx="1846800" cy="585600"/>
            </a:xfrm>
            <a:prstGeom prst="round2SameRect">
              <a:avLst>
                <a:gd name="adj1" fmla="val 16667"/>
                <a:gd name="adj2" fmla="val 0"/>
              </a:avLst>
            </a:prstGeom>
            <a:solidFill>
              <a:srgbClr val="009ED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en-US"/>
              </a:defPPr>
              <a:lvl1pPr marL="0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7741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5482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63223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50964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38705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26446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14187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01928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chemeClr val="dk1"/>
                </a:buClr>
                <a:buSzPts val="1100"/>
              </a:pPr>
              <a:r>
                <a:rPr lang="en-US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Sparse Data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320F991-B828-D235-4936-AC3CB9D5337A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70000"/>
          </a:blip>
          <a:stretch>
            <a:fillRect/>
          </a:stretch>
        </p:blipFill>
        <p:spPr>
          <a:xfrm>
            <a:off x="2016699" y="2887606"/>
            <a:ext cx="750564" cy="750564"/>
          </a:xfrm>
          <a:prstGeom prst="rect">
            <a:avLst/>
          </a:prstGeom>
        </p:spPr>
      </p:pic>
      <p:grpSp>
        <p:nvGrpSpPr>
          <p:cNvPr id="48" name="Google Shape;415;p21">
            <a:extLst>
              <a:ext uri="{FF2B5EF4-FFF2-40B4-BE49-F238E27FC236}">
                <a16:creationId xmlns:a16="http://schemas.microsoft.com/office/drawing/2014/main" id="{C9CBA075-0C42-0476-D234-4F27CC54382A}"/>
              </a:ext>
            </a:extLst>
          </p:cNvPr>
          <p:cNvGrpSpPr/>
          <p:nvPr/>
        </p:nvGrpSpPr>
        <p:grpSpPr>
          <a:xfrm>
            <a:off x="4387126" y="2035114"/>
            <a:ext cx="3417730" cy="3467288"/>
            <a:chOff x="710272" y="412618"/>
            <a:chExt cx="1846803" cy="4012144"/>
          </a:xfrm>
        </p:grpSpPr>
        <p:sp>
          <p:nvSpPr>
            <p:cNvPr id="49" name="Google Shape;416;p21">
              <a:extLst>
                <a:ext uri="{FF2B5EF4-FFF2-40B4-BE49-F238E27FC236}">
                  <a16:creationId xmlns:a16="http://schemas.microsoft.com/office/drawing/2014/main" id="{D0E4EDF8-FA8A-332A-915E-5DDA700E00F3}"/>
                </a:ext>
              </a:extLst>
            </p:cNvPr>
            <p:cNvSpPr/>
            <p:nvPr/>
          </p:nvSpPr>
          <p:spPr>
            <a:xfrm rot="10800000" flipH="1">
              <a:off x="710275" y="1161896"/>
              <a:ext cx="1846800" cy="3262866"/>
            </a:xfrm>
            <a:prstGeom prst="round2SameRect">
              <a:avLst>
                <a:gd name="adj1" fmla="val 5874"/>
                <a:gd name="adj2" fmla="val 0"/>
              </a:avLst>
            </a:prstGeom>
            <a:noFill/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en-US"/>
              </a:defPPr>
              <a:lvl1pPr marL="0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7741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5482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63223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50964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38705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26446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14187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01928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50" name="Google Shape;417;p21">
              <a:extLst>
                <a:ext uri="{FF2B5EF4-FFF2-40B4-BE49-F238E27FC236}">
                  <a16:creationId xmlns:a16="http://schemas.microsoft.com/office/drawing/2014/main" id="{284AB211-09B6-69AF-E5B6-D395FC430663}"/>
                </a:ext>
              </a:extLst>
            </p:cNvPr>
            <p:cNvSpPr txBox="1"/>
            <p:nvPr/>
          </p:nvSpPr>
          <p:spPr>
            <a:xfrm>
              <a:off x="792625" y="3045638"/>
              <a:ext cx="1682100" cy="42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en-US"/>
              </a:defPPr>
              <a:lvl1pPr marL="0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7741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5482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63223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50964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38705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26446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14187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01928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0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51" name="Google Shape;418;p21">
              <a:extLst>
                <a:ext uri="{FF2B5EF4-FFF2-40B4-BE49-F238E27FC236}">
                  <a16:creationId xmlns:a16="http://schemas.microsoft.com/office/drawing/2014/main" id="{A5448190-F501-F601-3AD5-346C1646056B}"/>
                </a:ext>
              </a:extLst>
            </p:cNvPr>
            <p:cNvSpPr txBox="1"/>
            <p:nvPr/>
          </p:nvSpPr>
          <p:spPr>
            <a:xfrm>
              <a:off x="792622" y="2519435"/>
              <a:ext cx="1682100" cy="12912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>
              <a:defPPr>
                <a:defRPr lang="en-US"/>
              </a:defPPr>
              <a:lvl1pPr marL="0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7741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5482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63223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50964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38705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26446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14187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01928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>
                  <a:solidFill>
                    <a:schemeClr val="accent5">
                      <a:lumMod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/>
                  <a:sym typeface="Roboto"/>
                </a:rPr>
                <a:t>Public data published by Member States may be biased, potentially skewing analysis on donor priorities</a:t>
              </a:r>
              <a:endParaRPr sz="1600">
                <a:solidFill>
                  <a:schemeClr val="accent5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/>
                <a:sym typeface="Roboto"/>
              </a:endParaRPr>
            </a:p>
          </p:txBody>
        </p:sp>
        <p:sp>
          <p:nvSpPr>
            <p:cNvPr id="52" name="Google Shape;419;p21">
              <a:extLst>
                <a:ext uri="{FF2B5EF4-FFF2-40B4-BE49-F238E27FC236}">
                  <a16:creationId xmlns:a16="http://schemas.microsoft.com/office/drawing/2014/main" id="{0A19D374-75FB-0FFA-8367-EEE7D63AF699}"/>
                </a:ext>
              </a:extLst>
            </p:cNvPr>
            <p:cNvSpPr/>
            <p:nvPr/>
          </p:nvSpPr>
          <p:spPr>
            <a:xfrm>
              <a:off x="710272" y="412618"/>
              <a:ext cx="1846800" cy="585600"/>
            </a:xfrm>
            <a:prstGeom prst="round2SameRect">
              <a:avLst>
                <a:gd name="adj1" fmla="val 166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en-US"/>
              </a:defPPr>
              <a:lvl1pPr marL="0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7741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5482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63223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50964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38705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26446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14187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01928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chemeClr val="dk1"/>
                </a:buClr>
                <a:buSzPts val="1100"/>
              </a:pPr>
              <a:r>
                <a:rPr lang="en-US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Data Bias</a:t>
              </a:r>
            </a:p>
          </p:txBody>
        </p:sp>
      </p:grpSp>
      <p:grpSp>
        <p:nvGrpSpPr>
          <p:cNvPr id="53" name="Google Shape;415;p21">
            <a:extLst>
              <a:ext uri="{FF2B5EF4-FFF2-40B4-BE49-F238E27FC236}">
                <a16:creationId xmlns:a16="http://schemas.microsoft.com/office/drawing/2014/main" id="{88FF180D-2E17-2F78-4DC7-D24C22C84BCE}"/>
              </a:ext>
            </a:extLst>
          </p:cNvPr>
          <p:cNvGrpSpPr/>
          <p:nvPr/>
        </p:nvGrpSpPr>
        <p:grpSpPr>
          <a:xfrm>
            <a:off x="8088457" y="2047548"/>
            <a:ext cx="3417730" cy="3467288"/>
            <a:chOff x="710272" y="412618"/>
            <a:chExt cx="1846803" cy="4012144"/>
          </a:xfrm>
        </p:grpSpPr>
        <p:sp>
          <p:nvSpPr>
            <p:cNvPr id="54" name="Google Shape;416;p21">
              <a:extLst>
                <a:ext uri="{FF2B5EF4-FFF2-40B4-BE49-F238E27FC236}">
                  <a16:creationId xmlns:a16="http://schemas.microsoft.com/office/drawing/2014/main" id="{A32D7F10-A3DD-BE60-1047-BCE06E50B9B3}"/>
                </a:ext>
              </a:extLst>
            </p:cNvPr>
            <p:cNvSpPr/>
            <p:nvPr/>
          </p:nvSpPr>
          <p:spPr>
            <a:xfrm rot="10800000" flipH="1">
              <a:off x="710275" y="1161896"/>
              <a:ext cx="1846800" cy="3262866"/>
            </a:xfrm>
            <a:prstGeom prst="round2SameRect">
              <a:avLst>
                <a:gd name="adj1" fmla="val 5874"/>
                <a:gd name="adj2" fmla="val 0"/>
              </a:avLst>
            </a:prstGeom>
            <a:noFill/>
            <a:ln w="9525" cap="flat" cmpd="sng">
              <a:solidFill>
                <a:schemeClr val="bg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en-US"/>
              </a:defPPr>
              <a:lvl1pPr marL="0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7741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5482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63223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50964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38705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26446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14187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01928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55" name="Google Shape;417;p21">
              <a:extLst>
                <a:ext uri="{FF2B5EF4-FFF2-40B4-BE49-F238E27FC236}">
                  <a16:creationId xmlns:a16="http://schemas.microsoft.com/office/drawing/2014/main" id="{A3D1CE40-B199-CA17-D5BD-CFF41686C47D}"/>
                </a:ext>
              </a:extLst>
            </p:cNvPr>
            <p:cNvSpPr txBox="1"/>
            <p:nvPr/>
          </p:nvSpPr>
          <p:spPr>
            <a:xfrm>
              <a:off x="792625" y="3045638"/>
              <a:ext cx="1682100" cy="42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en-US"/>
              </a:defPPr>
              <a:lvl1pPr marL="0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7741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5482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63223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50964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38705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26446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14187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01928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70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56" name="Google Shape;418;p21">
              <a:extLst>
                <a:ext uri="{FF2B5EF4-FFF2-40B4-BE49-F238E27FC236}">
                  <a16:creationId xmlns:a16="http://schemas.microsoft.com/office/drawing/2014/main" id="{C51EEB0A-B234-3D58-A2DE-CCE135BB09AC}"/>
                </a:ext>
              </a:extLst>
            </p:cNvPr>
            <p:cNvSpPr txBox="1"/>
            <p:nvPr/>
          </p:nvSpPr>
          <p:spPr>
            <a:xfrm>
              <a:off x="792622" y="2519435"/>
              <a:ext cx="1682100" cy="12912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>
              <a:defPPr>
                <a:defRPr lang="en-US"/>
              </a:defPPr>
              <a:lvl1pPr marL="0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7741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5482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63223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50964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38705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26446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14187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01928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>
                  <a:solidFill>
                    <a:schemeClr val="accent5">
                      <a:lumMod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/>
                  <a:sym typeface="Roboto"/>
                </a:rPr>
                <a:t>Primarily relying on historical data may not be an accurate indicator of current donor priorities</a:t>
              </a:r>
              <a:endParaRPr sz="1600">
                <a:solidFill>
                  <a:schemeClr val="accent5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/>
                <a:sym typeface="Roboto"/>
              </a:endParaRPr>
            </a:p>
          </p:txBody>
        </p:sp>
        <p:sp>
          <p:nvSpPr>
            <p:cNvPr id="57" name="Google Shape;419;p21">
              <a:extLst>
                <a:ext uri="{FF2B5EF4-FFF2-40B4-BE49-F238E27FC236}">
                  <a16:creationId xmlns:a16="http://schemas.microsoft.com/office/drawing/2014/main" id="{ABEB7A00-BBA9-E25B-D4B9-0858AFE3AB2D}"/>
                </a:ext>
              </a:extLst>
            </p:cNvPr>
            <p:cNvSpPr/>
            <p:nvPr/>
          </p:nvSpPr>
          <p:spPr>
            <a:xfrm>
              <a:off x="710272" y="412618"/>
              <a:ext cx="1846800" cy="585600"/>
            </a:xfrm>
            <a:prstGeom prst="round2SameRect">
              <a:avLst>
                <a:gd name="adj1" fmla="val 16667"/>
                <a:gd name="adj2" fmla="val 0"/>
              </a:avLst>
            </a:prstGeom>
            <a:solidFill>
              <a:schemeClr val="bg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>
                <a:defRPr lang="en-US"/>
              </a:defPPr>
              <a:lvl1pPr marL="0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87741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75482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63223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950964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38705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26446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14187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01928" algn="l" defTabSz="975482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chemeClr val="dk1"/>
                </a:buClr>
                <a:buSzPts val="1100"/>
              </a:pPr>
              <a:r>
                <a:rPr lang="en-US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Data Extrapolation</a:t>
              </a:r>
            </a:p>
          </p:txBody>
        </p:sp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C1539D53-B647-FFA8-4054-487B029E6EC3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70000"/>
          </a:blip>
          <a:stretch>
            <a:fillRect/>
          </a:stretch>
        </p:blipFill>
        <p:spPr>
          <a:xfrm>
            <a:off x="9422677" y="2887606"/>
            <a:ext cx="749284" cy="749284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8E5E57D6-66F9-4050-0C53-A04933907EFD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70000"/>
          </a:blip>
          <a:stretch>
            <a:fillRect/>
          </a:stretch>
        </p:blipFill>
        <p:spPr>
          <a:xfrm>
            <a:off x="5731225" y="2887606"/>
            <a:ext cx="749284" cy="749284"/>
          </a:xfrm>
          <a:prstGeom prst="rect">
            <a:avLst/>
          </a:prstGeom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5080FABF-289B-6D4C-5F40-3ABAF0C31890}"/>
              </a:ext>
            </a:extLst>
          </p:cNvPr>
          <p:cNvSpPr/>
          <p:nvPr/>
        </p:nvSpPr>
        <p:spPr>
          <a:xfrm>
            <a:off x="685798" y="5998333"/>
            <a:ext cx="10820401" cy="107722"/>
          </a:xfrm>
          <a:prstGeom prst="rect">
            <a:avLst/>
          </a:prstGeom>
          <a:solidFill>
            <a:srgbClr val="009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endParaRPr lang="en-US" sz="100" b="1">
              <a:solidFill>
                <a:schemeClr val="bg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4F3A8B8-78E5-6CB0-4D84-6F52313F4492}"/>
              </a:ext>
            </a:extLst>
          </p:cNvPr>
          <p:cNvSpPr/>
          <p:nvPr/>
        </p:nvSpPr>
        <p:spPr>
          <a:xfrm>
            <a:off x="5153150" y="169004"/>
            <a:ext cx="1885705" cy="14285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algn="ctr"/>
            <a:r>
              <a:rPr lang="en-US" sz="844" b="1">
                <a:solidFill>
                  <a:srgbClr val="EA4425"/>
                </a:solidFill>
                <a:latin typeface="+mn-ea"/>
              </a:rPr>
              <a:t>DRAFT -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76719640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84271-D7E4-19E8-977C-0A80992EA5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B42234B-8308-5119-C9F9-0CE5783572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597" y="1936"/>
          <a:ext cx="1490" cy="1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B42234B-8308-5119-C9F9-0CE578357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597" y="1936"/>
                        <a:ext cx="1490" cy="1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61DECC7B-7E5C-DD18-4445-8451E317F08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3107" y="447"/>
            <a:ext cx="148809" cy="1488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5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F650CD-97C0-0017-1375-DD2F0595DB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85798" y="2615917"/>
            <a:ext cx="3048000" cy="3455339"/>
          </a:xfrm>
        </p:spPr>
        <p:txBody>
          <a:bodyPr/>
          <a:lstStyle/>
          <a:p>
            <a:r>
              <a:rPr lang="en-US" sz="1400"/>
              <a:t>Sources that capture more current information about each Member State</a:t>
            </a:r>
          </a:p>
          <a:p>
            <a:endParaRPr lang="en-US" sz="1400"/>
          </a:p>
          <a:p>
            <a:r>
              <a:rPr lang="en-US" sz="1400"/>
              <a:t>Social Media</a:t>
            </a:r>
          </a:p>
          <a:p>
            <a:pPr lvl="1"/>
            <a:r>
              <a:rPr lang="en-US" sz="1400"/>
              <a:t>LinkedIn</a:t>
            </a:r>
          </a:p>
          <a:p>
            <a:pPr lvl="1"/>
            <a:r>
              <a:rPr lang="en-US" sz="1400"/>
              <a:t>Twitter/X</a:t>
            </a:r>
          </a:p>
          <a:p>
            <a:pPr lvl="1"/>
            <a:r>
              <a:rPr lang="en-US" sz="1400"/>
              <a:t>Facebook/Instagram</a:t>
            </a:r>
          </a:p>
          <a:p>
            <a:pPr marL="128569" lvl="1" indent="0">
              <a:buNone/>
            </a:pPr>
            <a:endParaRPr lang="en-US" sz="1400"/>
          </a:p>
          <a:p>
            <a:r>
              <a:rPr lang="en-US" sz="1400"/>
              <a:t>Other Government Departments</a:t>
            </a:r>
          </a:p>
          <a:p>
            <a:endParaRPr lang="en-US" sz="1400"/>
          </a:p>
          <a:p>
            <a:r>
              <a:rPr lang="en-US" sz="1400"/>
              <a:t>Expand data scraping to other Member Stat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617ED6-24F9-12E3-16DB-283CA1AC00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42431" y="2615917"/>
            <a:ext cx="3035169" cy="3455339"/>
          </a:xfrm>
        </p:spPr>
        <p:txBody>
          <a:bodyPr/>
          <a:lstStyle/>
          <a:p>
            <a:r>
              <a:rPr lang="en-US" sz="1400"/>
              <a:t>Develop a user guide on how to navigate and interpret dashboard insights</a:t>
            </a:r>
          </a:p>
          <a:p>
            <a:endParaRPr lang="en-US" sz="1400"/>
          </a:p>
          <a:p>
            <a:r>
              <a:rPr lang="en-US" sz="1400"/>
              <a:t>Document methodology for future reference and maintenance</a:t>
            </a:r>
          </a:p>
          <a:p>
            <a:endParaRPr lang="en-US" sz="140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A354C5D-6F6C-E452-1859-AB0F681477E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72001" y="2615917"/>
            <a:ext cx="3048000" cy="3455339"/>
          </a:xfrm>
        </p:spPr>
        <p:txBody>
          <a:bodyPr/>
          <a:lstStyle/>
          <a:p>
            <a:r>
              <a:rPr lang="en-US" sz="1400"/>
              <a:t>Enhance usability by prioritizing intuitive layout and clear information hierarchy</a:t>
            </a:r>
          </a:p>
          <a:p>
            <a:endParaRPr lang="en-US" sz="1400"/>
          </a:p>
          <a:p>
            <a:r>
              <a:rPr lang="en-US" sz="1400"/>
              <a:t>Streamline navigation to support faster access to relevant donor insights</a:t>
            </a:r>
          </a:p>
          <a:p>
            <a:endParaRPr lang="en-US" sz="140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2B81611-D8F5-8347-9D7E-75EDF61DD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797" y="914399"/>
            <a:ext cx="10820401" cy="962519"/>
          </a:xfrm>
        </p:spPr>
        <p:txBody>
          <a:bodyPr vert="horz"/>
          <a:lstStyle/>
          <a:p>
            <a:r>
              <a:rPr lang="en-US"/>
              <a:t>Next Steps</a:t>
            </a:r>
            <a:br>
              <a:rPr lang="en-US" sz="2625">
                <a:solidFill>
                  <a:schemeClr val="bg2"/>
                </a:solidFill>
              </a:rPr>
            </a:br>
            <a:r>
              <a:rPr lang="en-US" sz="1600">
                <a:solidFill>
                  <a:schemeClr val="bg2"/>
                </a:solidFill>
                <a:latin typeface="+mn-ea"/>
                <a:ea typeface="+mn-ea"/>
              </a:rPr>
              <a:t>Next Steps focus on expanding data sources to capture more current trends, optimizing the dashboard for usability, and establishing clear documentation to support long-term use</a:t>
            </a:r>
            <a:endParaRPr lang="en-US" sz="1600">
              <a:latin typeface="+mn-ea"/>
              <a:ea typeface="+mn-ea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CED5B58-110D-5C68-0001-0BE70A70F330}"/>
              </a:ext>
            </a:extLst>
          </p:cNvPr>
          <p:cNvSpPr/>
          <p:nvPr/>
        </p:nvSpPr>
        <p:spPr>
          <a:xfrm>
            <a:off x="5153150" y="169004"/>
            <a:ext cx="1885705" cy="14285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algn="ctr"/>
            <a:r>
              <a:rPr lang="en-US" sz="844" b="1">
                <a:solidFill>
                  <a:srgbClr val="EA4425"/>
                </a:solidFill>
                <a:latin typeface="+mn-ea"/>
              </a:rPr>
              <a:t>DRAFT - FOR INTERNAL USE ONL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6136C4F-5DF6-EB71-0FFA-EE7767B3CB3D}"/>
              </a:ext>
            </a:extLst>
          </p:cNvPr>
          <p:cNvSpPr txBox="1"/>
          <p:nvPr/>
        </p:nvSpPr>
        <p:spPr>
          <a:xfrm>
            <a:off x="685797" y="2061759"/>
            <a:ext cx="3246120" cy="473145"/>
          </a:xfrm>
          <a:prstGeom prst="rect">
            <a:avLst/>
          </a:prstGeom>
          <a:noFill/>
        </p:spPr>
        <p:txBody>
          <a:bodyPr wrap="square" lIns="0" tIns="0" rIns="0" bIns="42857" rtlCol="0" anchor="b" anchorCtr="0">
            <a:noAutofit/>
          </a:bodyPr>
          <a:lstStyle/>
          <a:p>
            <a:r>
              <a:rPr lang="en-US" sz="1400" b="1"/>
              <a:t>Expand Data Sources + Member Stat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5B893D-A3CC-AB6B-2EC6-F038ED7C9BF9}"/>
              </a:ext>
            </a:extLst>
          </p:cNvPr>
          <p:cNvCxnSpPr>
            <a:cxnSpLocks/>
          </p:cNvCxnSpPr>
          <p:nvPr/>
        </p:nvCxnSpPr>
        <p:spPr bwMode="auto">
          <a:xfrm>
            <a:off x="685797" y="2599054"/>
            <a:ext cx="3246120" cy="0"/>
          </a:xfrm>
          <a:prstGeom prst="line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D539109-1997-1FB7-EAE7-4E4B9CC298AA}"/>
              </a:ext>
            </a:extLst>
          </p:cNvPr>
          <p:cNvSpPr txBox="1"/>
          <p:nvPr/>
        </p:nvSpPr>
        <p:spPr>
          <a:xfrm>
            <a:off x="4572001" y="2061759"/>
            <a:ext cx="3246120" cy="473145"/>
          </a:xfrm>
          <a:prstGeom prst="rect">
            <a:avLst/>
          </a:prstGeom>
          <a:noFill/>
        </p:spPr>
        <p:txBody>
          <a:bodyPr wrap="square" lIns="0" tIns="0" rIns="0" bIns="42857" rtlCol="0" anchor="b" anchorCtr="0">
            <a:noAutofit/>
          </a:bodyPr>
          <a:lstStyle/>
          <a:p>
            <a:r>
              <a:rPr lang="en-US" sz="1400" b="1"/>
              <a:t>Dashboard Optimizatio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AC16CD5-0922-EC48-128A-79685B8A6A0B}"/>
              </a:ext>
            </a:extLst>
          </p:cNvPr>
          <p:cNvCxnSpPr>
            <a:cxnSpLocks/>
          </p:cNvCxnSpPr>
          <p:nvPr/>
        </p:nvCxnSpPr>
        <p:spPr bwMode="auto">
          <a:xfrm>
            <a:off x="4572001" y="2599054"/>
            <a:ext cx="3246120" cy="0"/>
          </a:xfrm>
          <a:prstGeom prst="line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9155C62B-DC76-1CBE-C6E4-A4B59C4012E5}"/>
              </a:ext>
            </a:extLst>
          </p:cNvPr>
          <p:cNvSpPr txBox="1"/>
          <p:nvPr/>
        </p:nvSpPr>
        <p:spPr>
          <a:xfrm>
            <a:off x="8242431" y="2061759"/>
            <a:ext cx="3246120" cy="473145"/>
          </a:xfrm>
          <a:prstGeom prst="rect">
            <a:avLst/>
          </a:prstGeom>
          <a:noFill/>
        </p:spPr>
        <p:txBody>
          <a:bodyPr wrap="square" lIns="0" tIns="0" rIns="0" bIns="42857" rtlCol="0" anchor="b" anchorCtr="0">
            <a:noAutofit/>
          </a:bodyPr>
          <a:lstStyle/>
          <a:p>
            <a:r>
              <a:rPr lang="en-US" sz="1400" b="1"/>
              <a:t>Documentation + Handover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ACFC44D-9764-13CF-9579-72E27C37F5FA}"/>
              </a:ext>
            </a:extLst>
          </p:cNvPr>
          <p:cNvCxnSpPr>
            <a:cxnSpLocks/>
          </p:cNvCxnSpPr>
          <p:nvPr/>
        </p:nvCxnSpPr>
        <p:spPr bwMode="auto">
          <a:xfrm>
            <a:off x="8242431" y="2599054"/>
            <a:ext cx="3246120" cy="0"/>
          </a:xfrm>
          <a:prstGeom prst="line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65FFAA92-6ACE-63EC-B659-BD721FC925E0}"/>
              </a:ext>
            </a:extLst>
          </p:cNvPr>
          <p:cNvSpPr/>
          <p:nvPr/>
        </p:nvSpPr>
        <p:spPr>
          <a:xfrm>
            <a:off x="685798" y="5998333"/>
            <a:ext cx="10820401" cy="107722"/>
          </a:xfrm>
          <a:prstGeom prst="rect">
            <a:avLst/>
          </a:prstGeom>
          <a:solidFill>
            <a:srgbClr val="009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endParaRPr lang="en-US" sz="1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47710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5ADB54-C281-699C-753E-4A4BB6B54E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F108F15-1B38-EFB3-019E-A8117BE5A7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597" y="1936"/>
          <a:ext cx="1490" cy="1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F108F15-1B38-EFB3-019E-A8117BE5A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597" y="1936"/>
                        <a:ext cx="1490" cy="1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5406177-FB4B-0599-A5B3-870963DCA3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3107" y="447"/>
            <a:ext cx="148809" cy="1488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563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BD6923E-3045-985E-F3D8-BFD7FB585F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0303" y="2911793"/>
            <a:ext cx="10371394" cy="1034414"/>
          </a:xfrm>
        </p:spPr>
        <p:txBody>
          <a:bodyPr vert="horz"/>
          <a:lstStyle/>
          <a:p>
            <a:pPr algn="ctr"/>
            <a:r>
              <a:rPr lang="en-US" sz="7200">
                <a:ea typeface="Roboto" panose="02000000000000000000" pitchFamily="2" charset="0"/>
              </a:rPr>
              <a:t>DASHBOARD DEMO</a:t>
            </a:r>
          </a:p>
        </p:txBody>
      </p:sp>
    </p:spTree>
    <p:extLst>
      <p:ext uri="{BB962C8B-B14F-4D97-AF65-F5344CB8AC3E}">
        <p14:creationId xmlns:p14="http://schemas.microsoft.com/office/powerpoint/2010/main" val="148652165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1A592A-6C1E-098E-419B-47759D45BB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EDFF41B-8007-4865-5EF6-B0EF460A39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597" y="1936"/>
          <a:ext cx="1490" cy="1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EDFF41B-8007-4865-5EF6-B0EF460A39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597" y="1936"/>
                        <a:ext cx="1490" cy="14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21ECED7D-19D6-2252-C119-A61B7E786D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3107" y="447"/>
            <a:ext cx="148809" cy="1488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563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6D650E4-D572-9C64-9BFF-F4E6CD14BB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0303" y="2911793"/>
            <a:ext cx="10371394" cy="1034414"/>
          </a:xfrm>
        </p:spPr>
        <p:txBody>
          <a:bodyPr vert="horz"/>
          <a:lstStyle/>
          <a:p>
            <a:pPr algn="ctr"/>
            <a:r>
              <a:rPr lang="en-US" sz="7200">
                <a:ea typeface="Roboto" panose="02000000000000000000" pitchFamily="2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282751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41mcsTOyq8SpygRFf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41mcsTOyq8SpygRFf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41mcsTOyq8SpygRFf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Custom 2">
      <a:majorFont>
        <a:latin typeface="Roboto Black"/>
        <a:ea typeface="Roboto Black"/>
        <a:cs typeface=""/>
      </a:majorFont>
      <a:minorFont>
        <a:latin typeface="Roboto"/>
        <a:ea typeface="Roboto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437279F9-DB32-4F1B-A032-AC77F3EFB71F}" vid="{B213221D-DA05-4039-A785-4AE6BB2527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918D1870302449B3E3C6793D39D39F" ma:contentTypeVersion="19" ma:contentTypeDescription="Create a new document." ma:contentTypeScope="" ma:versionID="c0d62de5fdfd29d18bde7731c1f36924">
  <xsd:schema xmlns:xsd="http://www.w3.org/2001/XMLSchema" xmlns:xs="http://www.w3.org/2001/XMLSchema" xmlns:p="http://schemas.microsoft.com/office/2006/metadata/properties" xmlns:ns2="4f9b1fb1-8d54-4330-a660-793727ffb739" xmlns:ns3="6c383202-138b-438a-a24c-833dbfe3db90" xmlns:ns4="985ec44e-1bab-4c0b-9df0-6ba128686fc9" targetNamespace="http://schemas.microsoft.com/office/2006/metadata/properties" ma:root="true" ma:fieldsID="c985e73eafd46f66255c870286c36e37" ns2:_="" ns3:_="" ns4:_="">
    <xsd:import namespace="4f9b1fb1-8d54-4330-a660-793727ffb739"/>
    <xsd:import namespace="6c383202-138b-438a-a24c-833dbfe3db90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9b1fb1-8d54-4330-a660-793727ffb7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383202-138b-438a-a24c-833dbfe3db90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289166c3-a13a-461a-9ce1-8b214888d3a8}" ma:internalName="TaxCatchAll" ma:showField="CatchAllData" ma:web="6c383202-138b-438a-a24c-833dbfe3db9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85ec44e-1bab-4c0b-9df0-6ba128686fc9" xsi:nil="true"/>
    <lcf76f155ced4ddcb4097134ff3c332f xmlns="4f9b1fb1-8d54-4330-a660-793727ffb73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CDC53F1B-4B4D-4AE6-ADF6-9B0642CCB012}">
  <ds:schemaRefs>
    <ds:schemaRef ds:uri="4f9b1fb1-8d54-4330-a660-793727ffb739"/>
    <ds:schemaRef ds:uri="6c383202-138b-438a-a24c-833dbfe3db90"/>
    <ds:schemaRef ds:uri="985ec44e-1bab-4c0b-9df0-6ba128686fc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F508128-6242-43D6-ADEA-539C461BB2E8}">
  <ds:schemaRefs>
    <ds:schemaRef ds:uri="4f9b1fb1-8d54-4330-a660-793727ffb739"/>
    <ds:schemaRef ds:uri="6c383202-138b-438a-a24c-833dbfe3db90"/>
    <ds:schemaRef ds:uri="985ec44e-1bab-4c0b-9df0-6ba128686fc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0f9e35db-544f-4f60-bdcc-5ea416e6dc70}" enabled="0" method="" siteId="{0f9e35db-544f-4f60-bdcc-5ea416e6dc7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OS PPT Template_wide screen</Template>
  <Application>Microsoft Office PowerPoint</Application>
  <PresentationFormat>Widescreen</PresentationFormat>
  <Slides>9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Office Theme</vt:lpstr>
      <vt:lpstr>XB Donor Intelligence</vt:lpstr>
      <vt:lpstr>Problem Statement Limited Donor Intelligence Capabilities Hinder Strategic Engagement with Member States</vt:lpstr>
      <vt:lpstr>Methodology Three Member States were selected as the initial focus group to validate results and findings derived from UN resolutions, news articles, speeches, and published foreign aid data</vt:lpstr>
      <vt:lpstr>Results Report for Canada accurately identifies Women’s Rights/ Gender Equality as a donor priority1</vt:lpstr>
      <vt:lpstr>Results Despite prioritizing Hate Speech1, the UAE has published limited news/statements on the topic, indicating potential bias in data sources</vt:lpstr>
      <vt:lpstr>Important Limitations Limited and outdated external data undermine accurate understanding of donor priorities</vt:lpstr>
      <vt:lpstr>Next Steps Next Steps focus on expanding data sources to capture more current trends, optimizing the dashboard for usability, and establishing clear documentation to support long-term use</vt:lpstr>
      <vt:lpstr>DASHBOARD DEMO</vt:lpstr>
      <vt:lpstr>Thank you!</vt:lpstr>
    </vt:vector>
  </TitlesOfParts>
  <Company>United N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ebastian Frank</dc:creator>
  <cp:revision>1</cp:revision>
  <cp:lastPrinted>2017-07-13T21:00:05Z</cp:lastPrinted>
  <dcterms:created xsi:type="dcterms:W3CDTF">2021-05-03T14:13:31Z</dcterms:created>
  <dcterms:modified xsi:type="dcterms:W3CDTF">2025-07-24T16:4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918D1870302449B3E3C6793D39D39F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_activity">
    <vt:lpwstr>{"FileActivityType":"6","FileActivityTimeStamp":"2025-07-15T19:11:08.453Z","FileActivityUsersOnPage":[{"DisplayName":"Haruka George","Id":"haruka.george@un.org"}],"FileActivityNavigationId":null}</vt:lpwstr>
  </property>
  <property fmtid="{D5CDD505-2E9C-101B-9397-08002B2CF9AE}" pid="7" name="TriggerFlowInfo">
    <vt:lpwstr/>
  </property>
</Properties>
</file>